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comments/comment1.xml" ContentType="application/vnd.openxmlformats-officedocument.presentationml.comment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4" r:id="rId4"/>
    <p:sldMasterId id="2147483955" r:id="rId5"/>
    <p:sldMasterId id="2147483725" r:id="rId6"/>
    <p:sldMasterId id="2147483868" r:id="rId7"/>
    <p:sldMasterId id="2147483660" r:id="rId8"/>
  </p:sldMasterIdLst>
  <p:notesMasterIdLst>
    <p:notesMasterId r:id="rId27"/>
  </p:notesMasterIdLst>
  <p:sldIdLst>
    <p:sldId id="2142532995" r:id="rId9"/>
    <p:sldId id="2142533002" r:id="rId10"/>
    <p:sldId id="2142533008" r:id="rId11"/>
    <p:sldId id="2142533003" r:id="rId12"/>
    <p:sldId id="2142533009" r:id="rId13"/>
    <p:sldId id="2142533010" r:id="rId14"/>
    <p:sldId id="2142533013" r:id="rId15"/>
    <p:sldId id="2142533011" r:id="rId16"/>
    <p:sldId id="2142533012" r:id="rId17"/>
    <p:sldId id="2142533014" r:id="rId18"/>
    <p:sldId id="2142533021" r:id="rId19"/>
    <p:sldId id="2142533022" r:id="rId20"/>
    <p:sldId id="2142533015" r:id="rId21"/>
    <p:sldId id="2142533016" r:id="rId22"/>
    <p:sldId id="2142533017" r:id="rId23"/>
    <p:sldId id="2142533018" r:id="rId24"/>
    <p:sldId id="2142533019" r:id="rId25"/>
    <p:sldId id="2142533006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kadi, Raju" initials="NR" lastIdx="1" clrIdx="0">
    <p:extLst>
      <p:ext uri="{19B8F6BF-5375-455C-9EA6-DF929625EA0E}">
        <p15:presenceInfo xmlns:p15="http://schemas.microsoft.com/office/powerpoint/2012/main" userId="S::NekadiR@aetna.com::9e358c68-d85e-40d8-bd86-b1656be51ac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1E6640-73E5-4B4B-B034-AABD4B4CA8FE}" v="5" dt="2022-12-13T15:09:06.504"/>
    <p1510:client id="{F344DF28-023F-4C92-A7FC-E9F785C75641}" v="3" dt="2022-11-27T18:05:09.5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58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79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10-19T13:12:09.879" idx="1">
    <p:pos x="10" y="10"/>
    <p:text/>
    <p:extLst>
      <p:ext uri="{C676402C-5697-4E1C-873F-D02D1690AC5C}">
        <p15:threadingInfo xmlns:p15="http://schemas.microsoft.com/office/powerpoint/2012/main" timeZoneBias="30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232892-D27C-4609-9635-D16C08730DE4}" type="datetimeFigureOut">
              <a:rPr lang="en-US" smtClean="0"/>
              <a:t>12/13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48C276-128F-4C75-B62A-463EA55F8E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5374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68818" y="850392"/>
            <a:ext cx="4179897" cy="5157216"/>
          </a:xfrm>
          <a:solidFill>
            <a:srgbClr val="CC0000">
              <a:alpha val="74902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 bwMode="white">
          <a:xfrm>
            <a:off x="1016991" y="5235158"/>
            <a:ext cx="2273125" cy="279165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3" name="Freeform 22"/>
            <p:cNvSpPr>
              <a:spLocks noEditPoints="1"/>
            </p:cNvSpPr>
            <p:nvPr/>
          </p:nvSpPr>
          <p:spPr bwMode="white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white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white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white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white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white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991965" y="3063240"/>
            <a:ext cx="3283551" cy="1262324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1070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C1C52A3-5EA9-485E-AFEF-DEE8047C0D0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2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ree column layout — add sentence case title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C442BE-03CA-4067-976C-A01C211DB3D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62275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0BC2F1-E0A5-4127-9972-E1F020F3120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54489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6279680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5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95690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lang="en-US" sz="1500" b="1" kern="1200" dirty="0">
                <a:solidFill>
                  <a:schemeClr val="tx2"/>
                </a:solidFill>
                <a:latin typeface="CVS Health Sans" panose="020B0504020202020204" pitchFamily="34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5095262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 Parter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FF5A7F6-20C2-4507-801C-E1C2059285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7931" y="1637977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DCBD58C-46E5-4558-A43C-9B624EDDC132}"/>
              </a:ext>
            </a:extLst>
          </p:cNvPr>
          <p:cNvGrpSpPr/>
          <p:nvPr userDrawn="1"/>
        </p:nvGrpSpPr>
        <p:grpSpPr>
          <a:xfrm>
            <a:off x="557929" y="5835587"/>
            <a:ext cx="2872536" cy="352779"/>
            <a:chOff x="557784" y="429541"/>
            <a:chExt cx="2871788" cy="352779"/>
          </a:xfrm>
        </p:grpSpPr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DA33C252-4717-4352-8A54-FA89468DF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B4BF5A9-FC5D-4223-860C-4029263F1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573687AF-83B0-450D-8DC8-60EB9C6A0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7223532E-5DB1-4038-AECB-BE4DCA706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73C378A2-0EF8-441E-95AB-D981F911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63A10B27-C0C7-41AB-B1C5-0D3C1AEAD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D005736-4228-4541-9830-748A037770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3886593"/>
            <a:ext cx="3582950" cy="1262324"/>
          </a:xfrm>
        </p:spPr>
        <p:txBody>
          <a:bodyPr/>
          <a:lstStyle>
            <a:lvl1pPr>
              <a:defRPr lang="en-US" sz="1500" b="1" kern="1200" dirty="0">
                <a:solidFill>
                  <a:schemeClr val="tx2"/>
                </a:solidFill>
                <a:latin typeface="CVS Health Sans" panose="020B0504020202020204" pitchFamily="34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871D9-AE12-49B5-A916-42628F61B8D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9347" y="566377"/>
            <a:ext cx="1463421" cy="649224"/>
          </a:xfrm>
          <a:solidFill>
            <a:schemeClr val="bg2"/>
          </a:solidFill>
        </p:spPr>
        <p:txBody>
          <a:bodyPr anchor="ctr"/>
          <a:lstStyle>
            <a:lvl1pPr algn="ctr">
              <a:defRPr sz="1100"/>
            </a:lvl1pPr>
          </a:lstStyle>
          <a:p>
            <a:r>
              <a:rPr lang="en-US" dirty="0"/>
              <a:t>PARTNER LOGO</a:t>
            </a:r>
          </a:p>
        </p:txBody>
      </p:sp>
    </p:spTree>
    <p:extLst>
      <p:ext uri="{BB962C8B-B14F-4D97-AF65-F5344CB8AC3E}">
        <p14:creationId xmlns:p14="http://schemas.microsoft.com/office/powerpoint/2010/main" val="20261156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kern="1200" dirty="0">
                <a:solidFill>
                  <a:schemeClr val="accent6"/>
                </a:solidFill>
                <a:latin typeface="+mj-lt"/>
                <a:ea typeface="+mn-ea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3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3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3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sz="1300"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 sz="1300"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 sz="1300"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sz="1300"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7988681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2000" b="1">
                <a:solidFill>
                  <a:schemeClr val="tx2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300" b="1">
                <a:solidFill>
                  <a:schemeClr val="tx2"/>
                </a:solidFill>
                <a:latin typeface="CVS Health Sans" panose="020B0504020202020204" pitchFamily="34" charset="0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300">
                <a:solidFill>
                  <a:schemeClr val="tx2"/>
                </a:solidFill>
                <a:latin typeface="CVS Health Sans" panose="020B05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300" i="1">
                <a:solidFill>
                  <a:schemeClr val="tx2"/>
                </a:solidFill>
                <a:latin typeface="CVS Health Sans" panose="020B05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2000" b="1">
                <a:solidFill>
                  <a:schemeClr val="tx2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300" b="1">
                <a:solidFill>
                  <a:schemeClr val="tx2"/>
                </a:solidFill>
                <a:latin typeface="CVS Health Sans" panose="020B0504020202020204" pitchFamily="34" charset="0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300">
                <a:solidFill>
                  <a:schemeClr val="tx2"/>
                </a:solidFill>
                <a:latin typeface="CVS Health Sans" panose="020B05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300" i="1">
                <a:solidFill>
                  <a:schemeClr val="tx2"/>
                </a:solidFill>
                <a:latin typeface="CVS Health Sans" panose="020B05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5466578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93899461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28797739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98120552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992978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lnSpc>
                <a:spcPct val="100000"/>
              </a:lnSpc>
              <a:buClr>
                <a:schemeClr val="tx1"/>
              </a:buClr>
              <a:defRPr sz="1800" b="1" cap="none" baseline="0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tx1"/>
              </a:buClr>
              <a:buNone/>
              <a:defRPr sz="1300"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3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 sz="1300"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469984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ur column layout — add sentence case title he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9DA773E-1A9C-49A8-82DD-B6B321015B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328A86F-8399-4292-B132-4237562A21D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41865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8A1BCBE-2CBE-4948-AAE0-556CE1C22D0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6724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7335A8D-3159-45B7-95A8-683C99A6C7D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5830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0271060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9399787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92030960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12689684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-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364606201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374713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3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3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>
              <a:buClrTx/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66288073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5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5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5677758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 userDrawn="1"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1800" b="1" cap="none" baseline="0" dirty="0" smtClean="0">
                <a:solidFill>
                  <a:schemeClr val="tx2"/>
                </a:solidFill>
                <a:latin typeface="+mn-lt"/>
              </a:defRPr>
            </a:lvl1pPr>
            <a:lvl2pPr marL="0" indent="0" algn="ctr">
              <a:buClrTx/>
              <a:buFontTx/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>
              <a:buClrTx/>
              <a:buFontTx/>
              <a:buNone/>
              <a:defRPr lang="en-US" sz="15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1800" b="1" cap="none" baseline="0" dirty="0" smtClean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ClrTx/>
              <a:buFontTx/>
              <a:buNone/>
              <a:defRPr lang="en-US" sz="15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B46839-35D8-438B-B7A2-2B753DFD7A66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CVS Health Sans" panose="020B0504020202020204" pitchFamily="34" charset="0"/>
              </a:rPr>
              <a:t>©2021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77750529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0908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1483263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ur quadrant layout — add sentence case title he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A2592A0-CC61-4B83-9EF0-BF038FCAF4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59" y="177165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C9E725-B6FE-4415-97E4-3714329CB0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499966" y="177165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1407C93-96C7-4D6E-90F6-831700C79F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70059" y="392430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D6975E3-68BF-4B73-BC7D-EE5C7B1F0A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99966" y="392430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18932603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8382426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1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7285176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lnSpc>
                <a:spcPct val="95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3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38792762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3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14377360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1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3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62506641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kern="1200" dirty="0">
                <a:solidFill>
                  <a:schemeClr val="accent6"/>
                </a:solidFill>
                <a:latin typeface="+mj-lt"/>
                <a:ea typeface="+mn-ea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3200" b="1" kern="1200" cap="none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ctr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3200" b="1" kern="1200" cap="none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ctr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5000"/>
              </a:lnSpc>
              <a:buClrTx/>
              <a:defRPr lang="en-US" sz="3200" b="1" kern="1200" cap="none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ctr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288165200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kern="1200" dirty="0">
                <a:solidFill>
                  <a:schemeClr val="accent6"/>
                </a:solidFill>
                <a:latin typeface="+mj-lt"/>
                <a:ea typeface="+mn-ea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63943449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391609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1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1814600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0631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4B57-D885-4C1D-B415-4F8E4BE612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ree content with graphics layout — add titl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2AFDA2-265D-482F-B18E-81F62E53A1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115859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98BA057-F052-424D-8F9C-A01634B943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32578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B5B78ED-6DB5-495A-B7B8-4D9AF1FC1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49298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369086464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813933" y="2941079"/>
            <a:ext cx="4564136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4801582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CVS Health Sans" panose="020B0504020202020204" pitchFamily="34" charset="0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5172" y="1196075"/>
            <a:ext cx="3069479" cy="1444752"/>
          </a:xfrm>
        </p:spPr>
        <p:txBody>
          <a:bodyPr/>
          <a:lstStyle>
            <a:lvl1pPr marL="0" marR="0" indent="0" algn="l" defTabSz="456758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125866944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826318" y="3027447"/>
            <a:ext cx="6539366" cy="803106"/>
            <a:chOff x="2825581" y="3027447"/>
            <a:chExt cx="6537663" cy="803106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1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1350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761958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Click icon to add picture</a:t>
            </a:r>
          </a:p>
        </p:txBody>
      </p:sp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68818" y="850392"/>
            <a:ext cx="4179897" cy="5157216"/>
          </a:xfrm>
          <a:solidFill>
            <a:srgbClr val="CC0000">
              <a:alpha val="74902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 bwMode="white">
          <a:xfrm>
            <a:off x="1016991" y="5235158"/>
            <a:ext cx="2273125" cy="279165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3" name="Freeform 22"/>
            <p:cNvSpPr>
              <a:spLocks noEditPoints="1"/>
            </p:cNvSpPr>
            <p:nvPr/>
          </p:nvSpPr>
          <p:spPr bwMode="white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white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white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white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white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white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991965" y="3063240"/>
            <a:ext cx="3283551" cy="1262324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428264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Click icon to add picture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68818" y="850392"/>
            <a:ext cx="4179897" cy="5157216"/>
          </a:xfrm>
          <a:solidFill>
            <a:srgbClr val="FFFFFF">
              <a:alpha val="89804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89552" y="3063240"/>
            <a:ext cx="3283551" cy="1262324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 bwMode="gray">
          <a:xfrm>
            <a:off x="1017754" y="5239513"/>
            <a:ext cx="2273125" cy="279165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6" name="Freeform 15"/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rgbClr val="000000"/>
                </a:solidFill>
              </a:endParaRP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A45137-D954-4F74-A043-F7DE2DC22D97}"/>
              </a:ext>
            </a:extLst>
          </p:cNvPr>
          <p:cNvCxnSpPr/>
          <p:nvPr userDrawn="1"/>
        </p:nvCxnSpPr>
        <p:spPr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112013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717805" y="389319"/>
            <a:ext cx="9101035" cy="5724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</a:endParaRPr>
          </a:p>
        </p:txBody>
      </p:sp>
      <p:sp>
        <p:nvSpPr>
          <p:cNvPr id="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048" y="1024128"/>
            <a:ext cx="5806440" cy="44439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23762" y="1167898"/>
            <a:ext cx="3685665" cy="8900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223761" y="2825587"/>
            <a:ext cx="3682432" cy="24073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ext her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540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0DF8969-AD2F-3044-B7BA-1B73247EBF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 — add sentence case title here</a:t>
            </a:r>
          </a:p>
        </p:txBody>
      </p:sp>
    </p:spTree>
    <p:extLst>
      <p:ext uri="{BB962C8B-B14F-4D97-AF65-F5344CB8AC3E}">
        <p14:creationId xmlns:p14="http://schemas.microsoft.com/office/powerpoint/2010/main" val="22769900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727569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381001" y="384048"/>
            <a:ext cx="11430000" cy="5724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B8F9610-DC98-BA46-87C9-07A98DDB83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nly layout gray background — add title here</a:t>
            </a:r>
          </a:p>
        </p:txBody>
      </p:sp>
    </p:spTree>
    <p:extLst>
      <p:ext uri="{BB962C8B-B14F-4D97-AF65-F5344CB8AC3E}">
        <p14:creationId xmlns:p14="http://schemas.microsoft.com/office/powerpoint/2010/main" val="31928940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7BADB-8BF3-451E-AE7C-0ECEED414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664" y="2505457"/>
            <a:ext cx="4189043" cy="1217458"/>
          </a:xfrm>
        </p:spPr>
        <p:txBody>
          <a:bodyPr>
            <a:noAutofit/>
          </a:bodyPr>
          <a:lstStyle>
            <a:lvl1pPr algn="r">
              <a:defRPr sz="3200"/>
            </a:lvl1pPr>
          </a:lstStyle>
          <a:p>
            <a:r>
              <a:rPr lang="en-US" dirty="0"/>
              <a:t>Data slide white layout — add title here</a:t>
            </a:r>
          </a:p>
        </p:txBody>
      </p:sp>
    </p:spTree>
    <p:extLst>
      <p:ext uri="{BB962C8B-B14F-4D97-AF65-F5344CB8AC3E}">
        <p14:creationId xmlns:p14="http://schemas.microsoft.com/office/powerpoint/2010/main" val="35170751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6F99692-F61B-0747-B6EE-CBBC1A49DA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and content layout — add sentence cas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6E05B6-68DB-4148-BFA4-EEBAF9CB3BF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874261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858838" indent="-166688">
              <a:buFont typeface="Arial" panose="020B0604020202020204" pitchFamily="34" charset="0"/>
              <a:buChar char="•"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99596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 and content without header layout — add title he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7DF5FE-2F16-48B6-B4AD-1B3D50B9ABC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2" y="1771650"/>
            <a:ext cx="8742619" cy="39814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34561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wo column layout — add sentence case title he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AC55CAB-17A7-424F-9F54-62117FE099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5030510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89F6773-F1D4-4DCC-80D0-99EA5118698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320" y="1771650"/>
            <a:ext cx="5030510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3870607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C1C52A3-5EA9-485E-AFEF-DEE8047C0D0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2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layout — add sentence case title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C442BE-03CA-4067-976C-A01C211DB3D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62275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0BC2F1-E0A5-4127-9972-E1F020F3120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54489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4161699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our column layout — add sentence case title he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9DA773E-1A9C-49A8-82DD-B6B321015B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328A86F-8399-4292-B132-4237562A21D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41865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8A1BCBE-2CBE-4948-AAE0-556CE1C22D0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6724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7335A8D-3159-45B7-95A8-683C99A6C7D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5830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04017883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our quadrant layout — add sentence case title he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A2592A0-CC61-4B83-9EF0-BF038FCAF4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59" y="177165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C9E725-B6FE-4415-97E4-3714329CB0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499966" y="177165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1407C93-96C7-4D6E-90F6-831700C79F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70059" y="392430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D6975E3-68BF-4B73-BC7D-EE5C7B1F0A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99966" y="392430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20100235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4B57-D885-4C1D-B415-4F8E4BE612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hree content with graphics layout — add titl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2AFDA2-265D-482F-B18E-81F62E53A1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115859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98BA057-F052-424D-8F9C-A01634B943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32578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B5B78ED-6DB5-495A-B7B8-4D9AF1FC1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49298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417092508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7BADB-8BF3-451E-AE7C-0ECEED414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664" y="2505457"/>
            <a:ext cx="4189043" cy="1217458"/>
          </a:xfrm>
        </p:spPr>
        <p:txBody>
          <a:bodyPr>
            <a:noAutofit/>
          </a:bodyPr>
          <a:lstStyle>
            <a:lvl1pPr algn="r">
              <a:defRPr sz="3200"/>
            </a:lvl1pPr>
          </a:lstStyle>
          <a:p>
            <a:r>
              <a:rPr lang="en-US"/>
              <a:t>Data slide white layout — add title here</a:t>
            </a:r>
          </a:p>
        </p:txBody>
      </p:sp>
    </p:spTree>
    <p:extLst>
      <p:ext uri="{BB962C8B-B14F-4D97-AF65-F5344CB8AC3E}">
        <p14:creationId xmlns:p14="http://schemas.microsoft.com/office/powerpoint/2010/main" val="417685858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rgbClr val="CC000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223335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chemeClr val="accent6">
              <a:alpha val="69804"/>
            </a:scheme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315207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rgbClr val="CC000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7489713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rgbClr val="267AC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4036900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lue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 bwMode="ltGray">
          <a:xfrm>
            <a:off x="384148" y="384048"/>
            <a:ext cx="11432977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23177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148CBB-91E1-498A-B884-AECB778C0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096000" y="0"/>
            <a:ext cx="5323194" cy="5724144"/>
          </a:xfrm>
          <a:solidFill>
            <a:srgbClr val="267AC0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F62E717-3D00-4196-812F-72CF9487567D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bg1"/>
                </a:solidFill>
              </a:defRPr>
            </a:lvl1pPr>
            <a:lvl2pPr marL="171450" indent="-171450">
              <a:defRPr sz="16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  <a:lvl6pPr marL="857250" indent="-174625">
              <a:defRPr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316594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 bwMode="ltGray">
          <a:xfrm>
            <a:off x="384148" y="384048"/>
            <a:ext cx="11432977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B3AA7B-BFA1-4F3B-8433-5B996FE11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777442" y="0"/>
            <a:ext cx="5318557" cy="5724144"/>
          </a:xfrm>
          <a:solidFill>
            <a:srgbClr val="267AC0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7D4864B-4462-4B16-A8C6-1DC8862069A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bg1"/>
                </a:solidFill>
              </a:defRPr>
            </a:lvl1pPr>
            <a:lvl2pPr marL="171450" indent="-171450">
              <a:defRPr sz="16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  <a:lvl6pPr marL="857250" indent="-174625">
              <a:defRPr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128787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5"/>
          <p:cNvSpPr>
            <a:spLocks noGrp="1"/>
          </p:cNvSpPr>
          <p:nvPr>
            <p:ph type="pic" sz="quarter" idx="18"/>
          </p:nvPr>
        </p:nvSpPr>
        <p:spPr bwMode="ltGray">
          <a:xfrm>
            <a:off x="393294" y="384048"/>
            <a:ext cx="7545765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8167719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8487393" y="2355601"/>
            <a:ext cx="3005570" cy="166528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Main key</a:t>
            </a:r>
            <a:br>
              <a:rPr lang="en-US"/>
            </a:br>
            <a:r>
              <a:rPr lang="en-US"/>
              <a:t>point here</a:t>
            </a:r>
          </a:p>
        </p:txBody>
      </p:sp>
    </p:spTree>
    <p:extLst>
      <p:ext uri="{BB962C8B-B14F-4D97-AF65-F5344CB8AC3E}">
        <p14:creationId xmlns:p14="http://schemas.microsoft.com/office/powerpoint/2010/main" val="725023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DB02E21D-DBEE-4B1A-9194-8C2CA1254B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381001" y="384048"/>
            <a:ext cx="11430000" cy="572306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3AD8A8D-470A-42F4-B89F-891AF730A3D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white">
          <a:xfrm>
            <a:off x="381001" y="3794760"/>
            <a:ext cx="11430000" cy="2312352"/>
          </a:xfrm>
          <a:prstGeom prst="rect">
            <a:avLst/>
          </a:prstGeom>
          <a:solidFill>
            <a:schemeClr val="bg1"/>
          </a:solidFill>
        </p:spPr>
        <p:txBody>
          <a:bodyPr lIns="731520" tIns="292608" rIns="9144000" bIns="365760"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F96E2BF7-E62D-4587-9BEA-CECFE858917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181494" y="4087368"/>
            <a:ext cx="155448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482B0A-BFAD-4F7B-83D3-C0737C485A0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5292104" y="4087368"/>
            <a:ext cx="155448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9EABA800-0A4E-4FCE-B7DE-DC5F52FEF81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7410332" y="4087368"/>
            <a:ext cx="1552597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653CED7E-535E-4970-81C1-46551B5F340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gray">
          <a:xfrm>
            <a:off x="9522127" y="4087368"/>
            <a:ext cx="160020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8A76BE-78AB-4609-97E9-57AEDF02D1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 for five column journey layout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52373044-8748-48E3-82A3-7A6C0B4FCA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578990" y="1147235"/>
            <a:ext cx="4502150" cy="6635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4812569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E2465CF-D517-48C5-BE69-F66E560A5E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F26ACCE-5644-4062-8AED-5E51246A64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1069335" y="1207606"/>
            <a:ext cx="3395987" cy="3538233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osing tex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16CBE5A-E52B-4E62-93C4-A12E04FBF9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739C6BE4-01E7-4AD6-8E9C-FCC905122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55E9978-E17D-4A87-8CC7-68C6A991B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7B8019EC-0F12-4DC2-98A9-3781E0DFD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eform 18">
              <a:extLst>
                <a:ext uri="{FF2B5EF4-FFF2-40B4-BE49-F238E27FC236}">
                  <a16:creationId xmlns:a16="http://schemas.microsoft.com/office/drawing/2014/main" id="{506FABD5-8CA8-4495-9FC9-2364B2B95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2E713DC5-F0B9-4117-B74B-05B58DF9F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85758825-D5B0-4F1A-AC88-A7ACB662B3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49084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2826318" y="3027447"/>
            <a:ext cx="6539366" cy="803106"/>
            <a:chOff x="1011652" y="1504398"/>
            <a:chExt cx="10028238" cy="1231900"/>
          </a:xfrm>
          <a:solidFill>
            <a:srgbClr val="000000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70192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 bwMode="invGray"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 bwMode="white"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white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white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753427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811092"/>
            <a:ext cx="8588453" cy="3977640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600">
                <a:solidFill>
                  <a:schemeClr val="tx2"/>
                </a:solidFill>
              </a:defRPr>
            </a:lvl2pPr>
            <a:lvl3pPr marL="173038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baseline="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8pPr>
            <a:lvl9pPr marL="1203325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  <a:p>
            <a:pPr lvl="2"/>
            <a:r>
              <a:rPr lang="en-US"/>
              <a:t>Second-level</a:t>
            </a:r>
          </a:p>
          <a:p>
            <a:pPr lvl="3"/>
            <a:r>
              <a:rPr lang="en-US"/>
              <a:t>Third-level</a:t>
            </a:r>
          </a:p>
          <a:p>
            <a:pPr lvl="4"/>
            <a:r>
              <a:rPr lang="en-US"/>
              <a:t>Fourth-level</a:t>
            </a:r>
          </a:p>
          <a:p>
            <a:pPr lvl="5"/>
            <a:r>
              <a:rPr lang="en-US"/>
              <a:t>Fifth-level</a:t>
            </a:r>
          </a:p>
          <a:p>
            <a:pPr lvl="6"/>
            <a:r>
              <a:rPr lang="en-US"/>
              <a:t>Sixth-level</a:t>
            </a:r>
          </a:p>
          <a:p>
            <a:pPr lvl="7"/>
            <a:r>
              <a:rPr lang="en-US"/>
              <a:t>Seventh-level</a:t>
            </a:r>
          </a:p>
          <a:p>
            <a:pPr lvl="8"/>
            <a:r>
              <a:rPr lang="en-US"/>
              <a:t>Eighth-level</a:t>
            </a:r>
          </a:p>
        </p:txBody>
      </p:sp>
    </p:spTree>
    <p:extLst>
      <p:ext uri="{BB962C8B-B14F-4D97-AF65-F5344CB8AC3E}">
        <p14:creationId xmlns:p14="http://schemas.microsoft.com/office/powerpoint/2010/main" val="205194638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3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3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>
              <a:buClrTx/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9967819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chemeClr val="accent6">
              <a:alpha val="69804"/>
            </a:scheme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4692101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99335071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83972055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0627326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74534758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524147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rgbClr val="267AC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43997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lue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 bwMode="ltGray">
          <a:xfrm>
            <a:off x="384148" y="384048"/>
            <a:ext cx="11432977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23177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148CBB-91E1-498A-B884-AECB778C0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096000" y="0"/>
            <a:ext cx="5323194" cy="5724144"/>
          </a:xfrm>
          <a:solidFill>
            <a:srgbClr val="267AC0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F62E717-3D00-4196-812F-72CF9487567D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bg1"/>
                </a:solidFill>
              </a:defRPr>
            </a:lvl1pPr>
            <a:lvl2pPr marL="171450" indent="-171450">
              <a:defRPr sz="16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  <a:lvl6pPr marL="857250" indent="-174625">
              <a:defRPr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79741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 bwMode="ltGray">
          <a:xfrm>
            <a:off x="384148" y="384048"/>
            <a:ext cx="11432977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B3AA7B-BFA1-4F3B-8433-5B996FE11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777442" y="0"/>
            <a:ext cx="5318557" cy="5724144"/>
          </a:xfrm>
          <a:solidFill>
            <a:srgbClr val="267AC0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7D4864B-4462-4B16-A8C6-1DC8862069A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bg1"/>
                </a:solidFill>
              </a:defRPr>
            </a:lvl1pPr>
            <a:lvl2pPr marL="171450" indent="-171450">
              <a:defRPr sz="16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  <a:lvl6pPr marL="857250" indent="-174625">
              <a:defRPr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61560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68818" y="850392"/>
            <a:ext cx="4179897" cy="5157216"/>
          </a:xfrm>
          <a:solidFill>
            <a:srgbClr val="FFFFFF">
              <a:alpha val="89804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89552" y="3063240"/>
            <a:ext cx="3283551" cy="1262324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 bwMode="gray">
          <a:xfrm>
            <a:off x="1017754" y="5239513"/>
            <a:ext cx="2273125" cy="279165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6" name="Freeform 15"/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rgbClr val="000000"/>
                </a:solidFill>
              </a:endParaRP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A45137-D954-4F74-A043-F7DE2DC22D97}"/>
              </a:ext>
            </a:extLst>
          </p:cNvPr>
          <p:cNvCxnSpPr/>
          <p:nvPr userDrawn="1"/>
        </p:nvCxnSpPr>
        <p:spPr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52031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5"/>
          <p:cNvSpPr>
            <a:spLocks noGrp="1"/>
          </p:cNvSpPr>
          <p:nvPr>
            <p:ph type="pic" sz="quarter" idx="18"/>
          </p:nvPr>
        </p:nvSpPr>
        <p:spPr bwMode="ltGray">
          <a:xfrm>
            <a:off x="393294" y="384048"/>
            <a:ext cx="7545765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8167719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8487393" y="2355601"/>
            <a:ext cx="3005570" cy="166528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in key</a:t>
            </a:r>
            <a:br>
              <a:rPr lang="en-US" dirty="0"/>
            </a:br>
            <a:r>
              <a:rPr lang="en-US" dirty="0"/>
              <a:t>point here</a:t>
            </a:r>
          </a:p>
        </p:txBody>
      </p:sp>
    </p:spTree>
    <p:extLst>
      <p:ext uri="{BB962C8B-B14F-4D97-AF65-F5344CB8AC3E}">
        <p14:creationId xmlns:p14="http://schemas.microsoft.com/office/powerpoint/2010/main" val="4083475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DB02E21D-DBEE-4B1A-9194-8C2CA1254B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381001" y="384048"/>
            <a:ext cx="11430000" cy="572306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3AD8A8D-470A-42F4-B89F-891AF730A3D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white">
          <a:xfrm>
            <a:off x="381001" y="3794760"/>
            <a:ext cx="11430000" cy="2312352"/>
          </a:xfrm>
          <a:prstGeom prst="rect">
            <a:avLst/>
          </a:prstGeom>
          <a:solidFill>
            <a:schemeClr val="bg1"/>
          </a:solidFill>
        </p:spPr>
        <p:txBody>
          <a:bodyPr lIns="731520" tIns="292608" rIns="9144000" bIns="365760"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F96E2BF7-E62D-4587-9BEA-CECFE858917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181494" y="4087368"/>
            <a:ext cx="155448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482B0A-BFAD-4F7B-83D3-C0737C485A0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5292104" y="4087368"/>
            <a:ext cx="155448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9EABA800-0A4E-4FCE-B7DE-DC5F52FEF81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7410332" y="4087368"/>
            <a:ext cx="1552597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653CED7E-535E-4970-81C1-46551B5F340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gray">
          <a:xfrm>
            <a:off x="9522127" y="4087368"/>
            <a:ext cx="160020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8A76BE-78AB-4609-97E9-57AEDF02D1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52373044-8748-48E3-82A3-7A6C0B4FCA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578990" y="1147235"/>
            <a:ext cx="4502150" cy="6635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5271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E2465CF-D517-48C5-BE69-F66E560A5E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F26ACCE-5644-4062-8AED-5E51246A64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1069335" y="1207606"/>
            <a:ext cx="3395987" cy="3538233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tex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16CBE5A-E52B-4E62-93C4-A12E04FBF9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739C6BE4-01E7-4AD6-8E9C-FCC905122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55E9978-E17D-4A87-8CC7-68C6A991B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7B8019EC-0F12-4DC2-98A9-3781E0DFD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eform 18">
              <a:extLst>
                <a:ext uri="{FF2B5EF4-FFF2-40B4-BE49-F238E27FC236}">
                  <a16:creationId xmlns:a16="http://schemas.microsoft.com/office/drawing/2014/main" id="{506FABD5-8CA8-4495-9FC9-2364B2B95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2E713DC5-F0B9-4117-B74B-05B58DF9F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85758825-D5B0-4F1A-AC88-A7ACB662B3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19250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2826318" y="3027447"/>
            <a:ext cx="6539366" cy="803106"/>
            <a:chOff x="1011652" y="1504398"/>
            <a:chExt cx="10028238" cy="1231900"/>
          </a:xfrm>
          <a:solidFill>
            <a:srgbClr val="000000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2838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 bwMode="invGray"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 bwMode="white"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white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white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20733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811092"/>
            <a:ext cx="8588453" cy="3977640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600">
                <a:solidFill>
                  <a:schemeClr val="tx2"/>
                </a:solidFill>
              </a:defRPr>
            </a:lvl2pPr>
            <a:lvl3pPr marL="173038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baseline="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8pPr>
            <a:lvl9pPr marL="1203325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  <a:p>
            <a:pPr lvl="4"/>
            <a:r>
              <a:rPr lang="en-US" dirty="0"/>
              <a:t>Fourth-level</a:t>
            </a:r>
          </a:p>
          <a:p>
            <a:pPr lvl="5"/>
            <a:r>
              <a:rPr lang="en-US" dirty="0"/>
              <a:t>Fifth-level</a:t>
            </a:r>
          </a:p>
          <a:p>
            <a:pPr lvl="6"/>
            <a:r>
              <a:rPr lang="en-US" dirty="0"/>
              <a:t>Sixth-level</a:t>
            </a:r>
          </a:p>
          <a:p>
            <a:pPr lvl="7"/>
            <a:r>
              <a:rPr lang="en-US" dirty="0"/>
              <a:t>Seventh-level</a:t>
            </a:r>
          </a:p>
          <a:p>
            <a:pPr lvl="8"/>
            <a:r>
              <a:rPr lang="en-US" dirty="0"/>
              <a:t>Eighth-level</a:t>
            </a:r>
          </a:p>
        </p:txBody>
      </p:sp>
    </p:spTree>
    <p:extLst>
      <p:ext uri="{BB962C8B-B14F-4D97-AF65-F5344CB8AC3E}">
        <p14:creationId xmlns:p14="http://schemas.microsoft.com/office/powerpoint/2010/main" val="12437391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3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3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>
              <a:buClrTx/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2060662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8677823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0597364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108814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717805" y="389319"/>
            <a:ext cx="9101035" cy="5724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048" y="1024128"/>
            <a:ext cx="5806440" cy="44439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23762" y="1167898"/>
            <a:ext cx="3685665" cy="8900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223761" y="2825587"/>
            <a:ext cx="3682432" cy="24073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ext her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855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896665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31716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68818" y="850392"/>
            <a:ext cx="4179897" cy="5157216"/>
          </a:xfrm>
          <a:solidFill>
            <a:srgbClr val="CC0000">
              <a:alpha val="74902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 bwMode="white">
          <a:xfrm>
            <a:off x="1016991" y="5235158"/>
            <a:ext cx="2273125" cy="279165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3" name="Freeform 22"/>
            <p:cNvSpPr>
              <a:spLocks noEditPoints="1"/>
            </p:cNvSpPr>
            <p:nvPr/>
          </p:nvSpPr>
          <p:spPr bwMode="white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white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white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white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white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white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991965" y="3063240"/>
            <a:ext cx="3283551" cy="1262324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4953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68818" y="850392"/>
            <a:ext cx="4179897" cy="5157216"/>
          </a:xfrm>
          <a:solidFill>
            <a:srgbClr val="FFFFFF">
              <a:alpha val="89804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89552" y="3063240"/>
            <a:ext cx="3283551" cy="1262324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 bwMode="gray">
          <a:xfrm>
            <a:off x="1017754" y="5239513"/>
            <a:ext cx="2273125" cy="279165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6" name="Freeform 15"/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rgbClr val="000000"/>
                </a:solidFill>
              </a:endParaRP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A45137-D954-4F74-A043-F7DE2DC22D97}"/>
              </a:ext>
            </a:extLst>
          </p:cNvPr>
          <p:cNvCxnSpPr/>
          <p:nvPr userDrawn="1"/>
        </p:nvCxnSpPr>
        <p:spPr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085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717805" y="389319"/>
            <a:ext cx="9101035" cy="5724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048" y="1024128"/>
            <a:ext cx="5806440" cy="44439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23762" y="1167898"/>
            <a:ext cx="3685665" cy="8900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223761" y="2825587"/>
            <a:ext cx="3682432" cy="24073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ext her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995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0DF8969-AD2F-3044-B7BA-1B73247EBF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— add sentence case title here</a:t>
            </a:r>
          </a:p>
        </p:txBody>
      </p:sp>
    </p:spTree>
    <p:extLst>
      <p:ext uri="{BB962C8B-B14F-4D97-AF65-F5344CB8AC3E}">
        <p14:creationId xmlns:p14="http://schemas.microsoft.com/office/powerpoint/2010/main" val="20175937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01163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381001" y="384048"/>
            <a:ext cx="11430000" cy="5724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B8F9610-DC98-BA46-87C9-07A98DDB83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gray background — add title here</a:t>
            </a:r>
          </a:p>
        </p:txBody>
      </p:sp>
    </p:spTree>
    <p:extLst>
      <p:ext uri="{BB962C8B-B14F-4D97-AF65-F5344CB8AC3E}">
        <p14:creationId xmlns:p14="http://schemas.microsoft.com/office/powerpoint/2010/main" val="30714059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6F99692-F61B-0747-B6EE-CBBC1A49DA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content layout — add sentence cas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6E05B6-68DB-4148-BFA4-EEBAF9CB3BF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874261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858838" indent="-166688">
              <a:buFont typeface="Arial" panose="020B0604020202020204" pitchFamily="34" charset="0"/>
              <a:buChar char="•"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873215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and content without header layout — add title he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7DF5FE-2F16-48B6-B4AD-1B3D50B9ABC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2" y="1771650"/>
            <a:ext cx="8742619" cy="39814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251991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0DF8969-AD2F-3044-B7BA-1B73247EBF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— add sentence case title here</a:t>
            </a:r>
          </a:p>
        </p:txBody>
      </p:sp>
    </p:spTree>
    <p:extLst>
      <p:ext uri="{BB962C8B-B14F-4D97-AF65-F5344CB8AC3E}">
        <p14:creationId xmlns:p14="http://schemas.microsoft.com/office/powerpoint/2010/main" val="15518845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 — add sentence case title he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AC55CAB-17A7-424F-9F54-62117FE099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5030510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89F6773-F1D4-4DCC-80D0-99EA5118698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320" y="1771650"/>
            <a:ext cx="5030510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24107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C1C52A3-5EA9-485E-AFEF-DEE8047C0D0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2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ree column layout — add sentence case title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C442BE-03CA-4067-976C-A01C211DB3D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62275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0BC2F1-E0A5-4127-9972-E1F020F3120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54489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268178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ur column layout — add sentence case title he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9DA773E-1A9C-49A8-82DD-B6B321015B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328A86F-8399-4292-B132-4237562A21D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41865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8A1BCBE-2CBE-4948-AAE0-556CE1C22D0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6724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7335A8D-3159-45B7-95A8-683C99A6C7D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5830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4368508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ur quadrant layout — add sentence case title he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A2592A0-CC61-4B83-9EF0-BF038FCAF4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59" y="177165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C9E725-B6FE-4415-97E4-3714329CB0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499966" y="177165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1407C93-96C7-4D6E-90F6-831700C79F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70059" y="392430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D6975E3-68BF-4B73-BC7D-EE5C7B1F0A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99966" y="392430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4896509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4B57-D885-4C1D-B415-4F8E4BE612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ree content with graphics layout — add titl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2AFDA2-265D-482F-B18E-81F62E53A1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115859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98BA057-F052-424D-8F9C-A01634B943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32578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B5B78ED-6DB5-495A-B7B8-4D9AF1FC1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49298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7265730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7BADB-8BF3-451E-AE7C-0ECEED414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664" y="2505457"/>
            <a:ext cx="4189043" cy="1217458"/>
          </a:xfrm>
        </p:spPr>
        <p:txBody>
          <a:bodyPr>
            <a:noAutofit/>
          </a:bodyPr>
          <a:lstStyle>
            <a:lvl1pPr algn="r">
              <a:defRPr sz="3200"/>
            </a:lvl1pPr>
          </a:lstStyle>
          <a:p>
            <a:r>
              <a:rPr lang="en-US" dirty="0"/>
              <a:t>Data slide white layout — add title here</a:t>
            </a:r>
          </a:p>
        </p:txBody>
      </p:sp>
    </p:spTree>
    <p:extLst>
      <p:ext uri="{BB962C8B-B14F-4D97-AF65-F5344CB8AC3E}">
        <p14:creationId xmlns:p14="http://schemas.microsoft.com/office/powerpoint/2010/main" val="35409216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rgbClr val="CC000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457562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chemeClr val="accent6">
              <a:alpha val="69804"/>
            </a:scheme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29249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rgbClr val="267AC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268735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lue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 bwMode="ltGray">
          <a:xfrm>
            <a:off x="384148" y="384048"/>
            <a:ext cx="11432977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23177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148CBB-91E1-498A-B884-AECB778C0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096000" y="0"/>
            <a:ext cx="5323194" cy="5724144"/>
          </a:xfrm>
          <a:solidFill>
            <a:srgbClr val="267AC0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F62E717-3D00-4196-812F-72CF9487567D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bg1"/>
                </a:solidFill>
              </a:defRPr>
            </a:lvl1pPr>
            <a:lvl2pPr marL="171450" indent="-171450">
              <a:defRPr sz="16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  <a:lvl6pPr marL="857250" indent="-174625">
              <a:defRPr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326097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14771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 bwMode="ltGray">
          <a:xfrm>
            <a:off x="384148" y="384048"/>
            <a:ext cx="11432977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B3AA7B-BFA1-4F3B-8433-5B996FE11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777442" y="0"/>
            <a:ext cx="5318557" cy="5724144"/>
          </a:xfrm>
          <a:solidFill>
            <a:srgbClr val="267AC0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7D4864B-4462-4B16-A8C6-1DC8862069A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bg1"/>
                </a:solidFill>
              </a:defRPr>
            </a:lvl1pPr>
            <a:lvl2pPr marL="171450" indent="-171450">
              <a:defRPr sz="16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  <a:lvl6pPr marL="857250" indent="-174625">
              <a:defRPr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288036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5"/>
          <p:cNvSpPr>
            <a:spLocks noGrp="1"/>
          </p:cNvSpPr>
          <p:nvPr>
            <p:ph type="pic" sz="quarter" idx="18"/>
          </p:nvPr>
        </p:nvSpPr>
        <p:spPr bwMode="ltGray">
          <a:xfrm>
            <a:off x="393294" y="384048"/>
            <a:ext cx="7545765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8167719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8487393" y="2355601"/>
            <a:ext cx="3005570" cy="166528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in key</a:t>
            </a:r>
            <a:br>
              <a:rPr lang="en-US" dirty="0"/>
            </a:br>
            <a:r>
              <a:rPr lang="en-US" dirty="0"/>
              <a:t>point here</a:t>
            </a:r>
          </a:p>
        </p:txBody>
      </p:sp>
    </p:spTree>
    <p:extLst>
      <p:ext uri="{BB962C8B-B14F-4D97-AF65-F5344CB8AC3E}">
        <p14:creationId xmlns:p14="http://schemas.microsoft.com/office/powerpoint/2010/main" val="3253616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DB02E21D-DBEE-4B1A-9194-8C2CA1254B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381001" y="384048"/>
            <a:ext cx="11430000" cy="572306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3AD8A8D-470A-42F4-B89F-891AF730A3D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white">
          <a:xfrm>
            <a:off x="381001" y="3794760"/>
            <a:ext cx="11430000" cy="2312352"/>
          </a:xfrm>
          <a:prstGeom prst="rect">
            <a:avLst/>
          </a:prstGeom>
          <a:solidFill>
            <a:schemeClr val="bg1"/>
          </a:solidFill>
        </p:spPr>
        <p:txBody>
          <a:bodyPr lIns="731520" tIns="292608" rIns="9144000" bIns="365760"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F96E2BF7-E62D-4587-9BEA-CECFE858917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181494" y="4087368"/>
            <a:ext cx="155448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482B0A-BFAD-4F7B-83D3-C0737C485A0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5292104" y="4087368"/>
            <a:ext cx="155448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9EABA800-0A4E-4FCE-B7DE-DC5F52FEF81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7410332" y="4087368"/>
            <a:ext cx="1552597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653CED7E-535E-4970-81C1-46551B5F340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gray">
          <a:xfrm>
            <a:off x="9522127" y="4087368"/>
            <a:ext cx="160020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8A76BE-78AB-4609-97E9-57AEDF02D1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52373044-8748-48E3-82A3-7A6C0B4FCA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578990" y="1147235"/>
            <a:ext cx="4502150" cy="6635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08746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E2465CF-D517-48C5-BE69-F66E560A5E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F26ACCE-5644-4062-8AED-5E51246A64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1069335" y="1207606"/>
            <a:ext cx="3395987" cy="3538233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tex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16CBE5A-E52B-4E62-93C4-A12E04FBF9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739C6BE4-01E7-4AD6-8E9C-FCC905122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55E9978-E17D-4A87-8CC7-68C6A991B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7B8019EC-0F12-4DC2-98A9-3781E0DFD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eform 18">
              <a:extLst>
                <a:ext uri="{FF2B5EF4-FFF2-40B4-BE49-F238E27FC236}">
                  <a16:creationId xmlns:a16="http://schemas.microsoft.com/office/drawing/2014/main" id="{506FABD5-8CA8-4495-9FC9-2364B2B95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2E713DC5-F0B9-4117-B74B-05B58DF9F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85758825-D5B0-4F1A-AC88-A7ACB662B3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596569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2826318" y="3027447"/>
            <a:ext cx="6539366" cy="803106"/>
            <a:chOff x="1011652" y="1504398"/>
            <a:chExt cx="10028238" cy="1231900"/>
          </a:xfrm>
          <a:solidFill>
            <a:srgbClr val="000000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78642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 bwMode="invGray"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 bwMode="white"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white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white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77327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811092"/>
            <a:ext cx="8588453" cy="3977640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600">
                <a:solidFill>
                  <a:schemeClr val="tx2"/>
                </a:solidFill>
              </a:defRPr>
            </a:lvl2pPr>
            <a:lvl3pPr marL="173038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baseline="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8pPr>
            <a:lvl9pPr marL="1203325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  <a:p>
            <a:pPr lvl="4"/>
            <a:r>
              <a:rPr lang="en-US" dirty="0"/>
              <a:t>Fourth-level</a:t>
            </a:r>
          </a:p>
          <a:p>
            <a:pPr lvl="5"/>
            <a:r>
              <a:rPr lang="en-US" dirty="0"/>
              <a:t>Fifth-level</a:t>
            </a:r>
          </a:p>
          <a:p>
            <a:pPr lvl="6"/>
            <a:r>
              <a:rPr lang="en-US" dirty="0"/>
              <a:t>Sixth-level</a:t>
            </a:r>
          </a:p>
          <a:p>
            <a:pPr lvl="7"/>
            <a:r>
              <a:rPr lang="en-US" dirty="0"/>
              <a:t>Seventh-level</a:t>
            </a:r>
          </a:p>
          <a:p>
            <a:pPr lvl="8"/>
            <a:r>
              <a:rPr lang="en-US" dirty="0"/>
              <a:t>Eighth-level</a:t>
            </a:r>
          </a:p>
        </p:txBody>
      </p:sp>
    </p:spTree>
    <p:extLst>
      <p:ext uri="{BB962C8B-B14F-4D97-AF65-F5344CB8AC3E}">
        <p14:creationId xmlns:p14="http://schemas.microsoft.com/office/powerpoint/2010/main" val="33615125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3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3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>
              <a:buClrTx/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8046316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8044054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787972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381001" y="384048"/>
            <a:ext cx="11430000" cy="5724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B8F9610-DC98-BA46-87C9-07A98DDB83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gray background — add title here</a:t>
            </a:r>
          </a:p>
        </p:txBody>
      </p:sp>
    </p:spTree>
    <p:extLst>
      <p:ext uri="{BB962C8B-B14F-4D97-AF65-F5344CB8AC3E}">
        <p14:creationId xmlns:p14="http://schemas.microsoft.com/office/powerpoint/2010/main" val="23342751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973938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527077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51956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368010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68818" y="850392"/>
            <a:ext cx="4179897" cy="5157216"/>
          </a:xfrm>
          <a:solidFill>
            <a:srgbClr val="CC0000">
              <a:alpha val="74902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 bwMode="white">
          <a:xfrm>
            <a:off x="1016991" y="5235158"/>
            <a:ext cx="2273125" cy="279165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3" name="Freeform 22"/>
            <p:cNvSpPr>
              <a:spLocks noEditPoints="1"/>
            </p:cNvSpPr>
            <p:nvPr/>
          </p:nvSpPr>
          <p:spPr bwMode="white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white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white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white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white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white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991965" y="3063240"/>
            <a:ext cx="3283551" cy="1262324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44041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68818" y="850392"/>
            <a:ext cx="4179897" cy="5157216"/>
          </a:xfrm>
          <a:solidFill>
            <a:srgbClr val="FFFFFF">
              <a:alpha val="89804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89552" y="3063240"/>
            <a:ext cx="3283551" cy="1262324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4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 bwMode="gray">
          <a:xfrm>
            <a:off x="1017754" y="5239513"/>
            <a:ext cx="2273125" cy="279165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6" name="Freeform 15"/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solidFill>
                  <a:srgbClr val="000000"/>
                </a:solidFill>
              </a:endParaRP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A45137-D954-4F74-A043-F7DE2DC22D97}"/>
              </a:ext>
            </a:extLst>
          </p:cNvPr>
          <p:cNvCxnSpPr/>
          <p:nvPr userDrawn="1"/>
        </p:nvCxnSpPr>
        <p:spPr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49534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717805" y="389319"/>
            <a:ext cx="9101035" cy="5724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048" y="1024128"/>
            <a:ext cx="5806440" cy="44439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23762" y="1167898"/>
            <a:ext cx="3685665" cy="8900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223761" y="2825587"/>
            <a:ext cx="3682432" cy="24073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ext her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4656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0DF8969-AD2F-3044-B7BA-1B73247EBF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— add sentence case title here</a:t>
            </a:r>
          </a:p>
        </p:txBody>
      </p:sp>
    </p:spTree>
    <p:extLst>
      <p:ext uri="{BB962C8B-B14F-4D97-AF65-F5344CB8AC3E}">
        <p14:creationId xmlns:p14="http://schemas.microsoft.com/office/powerpoint/2010/main" val="40037416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74392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381001" y="384048"/>
            <a:ext cx="11430000" cy="5724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B8F9610-DC98-BA46-87C9-07A98DDB83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gray background — add title here</a:t>
            </a:r>
          </a:p>
        </p:txBody>
      </p:sp>
    </p:spTree>
    <p:extLst>
      <p:ext uri="{BB962C8B-B14F-4D97-AF65-F5344CB8AC3E}">
        <p14:creationId xmlns:p14="http://schemas.microsoft.com/office/powerpoint/2010/main" val="1215472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6F99692-F61B-0747-B6EE-CBBC1A49DA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content layout — add sentence cas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6E05B6-68DB-4148-BFA4-EEBAF9CB3BF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874261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858838" indent="-166688">
              <a:buFont typeface="Arial" panose="020B0604020202020204" pitchFamily="34" charset="0"/>
              <a:buChar char="•"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28844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6F99692-F61B-0747-B6EE-CBBC1A49DA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and content layout — add sentence case title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6E05B6-68DB-4148-BFA4-EEBAF9CB3BF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874261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858838" indent="-166688">
              <a:buFont typeface="Arial" panose="020B0604020202020204" pitchFamily="34" charset="0"/>
              <a:buChar char="•"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565582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and content without header layout — add title he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7DF5FE-2F16-48B6-B4AD-1B3D50B9ABC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2" y="1771650"/>
            <a:ext cx="8742619" cy="39814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36990735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 — add sentence case title he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AC55CAB-17A7-424F-9F54-62117FE099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5030510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89F6773-F1D4-4DCC-80D0-99EA5118698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320" y="1771650"/>
            <a:ext cx="5030510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93894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C1C52A3-5EA9-485E-AFEF-DEE8047C0D0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2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ree column layout — add sentence case title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C442BE-03CA-4067-976C-A01C211DB3D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62275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0BC2F1-E0A5-4127-9972-E1F020F3120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54489" y="1771650"/>
            <a:ext cx="3467448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9007917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ur column layout — add sentence case title he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9DA773E-1A9C-49A8-82DD-B6B321015B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328A86F-8399-4292-B132-4237562A21D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41865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8A1BCBE-2CBE-4948-AAE0-556CE1C22D0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67241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7335A8D-3159-45B7-95A8-683C99A6C7D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5830" y="1771650"/>
            <a:ext cx="2506109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6132014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our quadrant layout — add sentence case title he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A2592A0-CC61-4B83-9EF0-BF038FCAF4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59" y="177165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C9E725-B6FE-4415-97E4-3714329CB0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499966" y="177165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1407C93-96C7-4D6E-90F6-831700C79F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70059" y="392430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D6975E3-68BF-4B73-BC7D-EE5C7B1F0A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99966" y="3924300"/>
            <a:ext cx="5121974" cy="1828800"/>
          </a:xfrm>
        </p:spPr>
        <p:txBody>
          <a:bodyPr/>
          <a:lstStyle>
            <a:lvl1pPr>
              <a:defRPr sz="1800" b="1"/>
            </a:lvl1pPr>
            <a:lvl2pPr marL="0" indent="0">
              <a:buNone/>
              <a:defRPr sz="1400"/>
            </a:lvl2pPr>
            <a:lvl3pPr marL="166688" indent="-166688">
              <a:buFont typeface="Arial" panose="020B0604020202020204" pitchFamily="34" charset="0"/>
              <a:buChar char="•"/>
              <a:defRPr sz="1400"/>
            </a:lvl3pPr>
            <a:lvl4pPr marL="346075" indent="-179388">
              <a:buFont typeface="Arial" panose="020B0604020202020204" pitchFamily="34" charset="0"/>
              <a:buChar char="–"/>
              <a:defRPr sz="1400"/>
            </a:lvl4pPr>
            <a:lvl5pPr marL="512763" indent="-166688">
              <a:buFont typeface="Arial" panose="020B0604020202020204" pitchFamily="34" charset="0"/>
              <a:buChar char="•"/>
              <a:defRPr sz="1400"/>
            </a:lvl5pPr>
            <a:lvl6pPr marL="692150" indent="-179388">
              <a:buFont typeface="Arial" panose="020B0604020202020204" pitchFamily="34" charset="0"/>
              <a:buChar char="–"/>
              <a:defRPr sz="1400"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4630267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74B57-D885-4C1D-B415-4F8E4BE612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ree content with graphics layout — add titl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2AFDA2-265D-482F-B18E-81F62E53A1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115859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98BA057-F052-424D-8F9C-A01634B943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32578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B5B78ED-6DB5-495A-B7B8-4D9AF1FC17E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49298" y="3474720"/>
            <a:ext cx="2926842" cy="2276856"/>
          </a:xfrm>
        </p:spPr>
        <p:txBody>
          <a:bodyPr/>
          <a:lstStyle>
            <a:lvl1pPr algn="ctr">
              <a:defRPr sz="2000"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42937565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7BADB-8BF3-451E-AE7C-0ECEED414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664" y="2505457"/>
            <a:ext cx="4189043" cy="1217458"/>
          </a:xfrm>
        </p:spPr>
        <p:txBody>
          <a:bodyPr>
            <a:noAutofit/>
          </a:bodyPr>
          <a:lstStyle>
            <a:lvl1pPr algn="r">
              <a:defRPr sz="3200"/>
            </a:lvl1pPr>
          </a:lstStyle>
          <a:p>
            <a:r>
              <a:rPr lang="en-US" dirty="0"/>
              <a:t>Data slide white layout — add title here</a:t>
            </a:r>
          </a:p>
        </p:txBody>
      </p:sp>
    </p:spTree>
    <p:extLst>
      <p:ext uri="{BB962C8B-B14F-4D97-AF65-F5344CB8AC3E}">
        <p14:creationId xmlns:p14="http://schemas.microsoft.com/office/powerpoint/2010/main" val="106346804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rgbClr val="CC000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711508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chemeClr val="accent6">
              <a:alpha val="69804"/>
            </a:scheme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33430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and content without header layout — add title he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7DF5FE-2F16-48B6-B4AD-1B3D50B9ABC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2" y="1771650"/>
            <a:ext cx="8742619" cy="39814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3913684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0"/>
            <a:ext cx="12192127" cy="6108192"/>
          </a:xfrm>
          <a:solidFill>
            <a:srgbClr val="267AC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</a:extLst>
          </p:cNvPr>
          <p:cNvGrpSpPr/>
          <p:nvPr userDrawn="1"/>
        </p:nvGrpSpPr>
        <p:grpSpPr bwMode="white"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 bwMode="white"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 bwMode="white"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43845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lue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 bwMode="ltGray">
          <a:xfrm>
            <a:off x="384148" y="384048"/>
            <a:ext cx="11432977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23177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148CBB-91E1-498A-B884-AECB778C0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6096000" y="0"/>
            <a:ext cx="5323194" cy="5724144"/>
          </a:xfrm>
          <a:solidFill>
            <a:srgbClr val="267AC0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F62E717-3D00-4196-812F-72CF9487567D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bg1"/>
                </a:solidFill>
              </a:defRPr>
            </a:lvl1pPr>
            <a:lvl2pPr marL="171450" indent="-171450">
              <a:defRPr sz="16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  <a:lvl6pPr marL="857250" indent="-174625">
              <a:defRPr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753437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 bwMode="ltGray">
          <a:xfrm>
            <a:off x="384148" y="384048"/>
            <a:ext cx="11432977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B3AA7B-BFA1-4F3B-8433-5B996FE11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777442" y="0"/>
            <a:ext cx="5318557" cy="5724144"/>
          </a:xfrm>
          <a:solidFill>
            <a:srgbClr val="267AC0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7D4864B-4462-4B16-A8C6-1DC8862069A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bg1"/>
                </a:solidFill>
              </a:defRPr>
            </a:lvl1pPr>
            <a:lvl2pPr marL="171450" indent="-171450">
              <a:defRPr sz="16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  <a:lvl6pPr marL="857250" indent="-174625">
              <a:defRPr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94845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5"/>
          <p:cNvSpPr>
            <a:spLocks noGrp="1"/>
          </p:cNvSpPr>
          <p:nvPr>
            <p:ph type="pic" sz="quarter" idx="18"/>
          </p:nvPr>
        </p:nvSpPr>
        <p:spPr bwMode="ltGray">
          <a:xfrm>
            <a:off x="393294" y="384048"/>
            <a:ext cx="7545765" cy="572414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8167719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8487393" y="2355601"/>
            <a:ext cx="3005570" cy="166528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in key</a:t>
            </a:r>
            <a:br>
              <a:rPr lang="en-US" dirty="0"/>
            </a:br>
            <a:r>
              <a:rPr lang="en-US" dirty="0"/>
              <a:t>point here</a:t>
            </a:r>
          </a:p>
        </p:txBody>
      </p:sp>
    </p:spTree>
    <p:extLst>
      <p:ext uri="{BB962C8B-B14F-4D97-AF65-F5344CB8AC3E}">
        <p14:creationId xmlns:p14="http://schemas.microsoft.com/office/powerpoint/2010/main" val="1603806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DB02E21D-DBEE-4B1A-9194-8C2CA1254B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381001" y="384048"/>
            <a:ext cx="11430000" cy="572306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3AD8A8D-470A-42F4-B89F-891AF730A3D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white">
          <a:xfrm>
            <a:off x="381001" y="3794760"/>
            <a:ext cx="11430000" cy="2312352"/>
          </a:xfrm>
          <a:prstGeom prst="rect">
            <a:avLst/>
          </a:prstGeom>
          <a:solidFill>
            <a:schemeClr val="bg1"/>
          </a:solidFill>
        </p:spPr>
        <p:txBody>
          <a:bodyPr lIns="731520" tIns="292608" rIns="9144000" bIns="365760"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F96E2BF7-E62D-4587-9BEA-CECFE858917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181494" y="4087368"/>
            <a:ext cx="155448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482B0A-BFAD-4F7B-83D3-C0737C485A0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5292104" y="4087368"/>
            <a:ext cx="155448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9EABA800-0A4E-4FCE-B7DE-DC5F52FEF81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7410332" y="4087368"/>
            <a:ext cx="1552597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653CED7E-535E-4970-81C1-46551B5F340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gray">
          <a:xfrm>
            <a:off x="9522127" y="4087368"/>
            <a:ext cx="1600200" cy="1647866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Descriptor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8A76BE-78AB-4609-97E9-57AEDF02D1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52373044-8748-48E3-82A3-7A6C0B4FCA9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578990" y="1147235"/>
            <a:ext cx="4502150" cy="6635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9978216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E2465CF-D517-48C5-BE69-F66E560A5EE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F26ACCE-5644-4062-8AED-5E51246A64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1069335" y="1207606"/>
            <a:ext cx="3395987" cy="3538233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tex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16CBE5A-E52B-4E62-93C4-A12E04FBF9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739C6BE4-01E7-4AD6-8E9C-FCC905122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Freeform 16">
              <a:extLst>
                <a:ext uri="{FF2B5EF4-FFF2-40B4-BE49-F238E27FC236}">
                  <a16:creationId xmlns:a16="http://schemas.microsoft.com/office/drawing/2014/main" id="{355E9978-E17D-4A87-8CC7-68C6A991B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7B8019EC-0F12-4DC2-98A9-3781E0DFD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eform 18">
              <a:extLst>
                <a:ext uri="{FF2B5EF4-FFF2-40B4-BE49-F238E27FC236}">
                  <a16:creationId xmlns:a16="http://schemas.microsoft.com/office/drawing/2014/main" id="{506FABD5-8CA8-4495-9FC9-2364B2B95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2E713DC5-F0B9-4117-B74B-05B58DF9F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85758825-D5B0-4F1A-AC88-A7ACB662B3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48642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2826318" y="3027447"/>
            <a:ext cx="6539366" cy="803106"/>
            <a:chOff x="1011652" y="1504398"/>
            <a:chExt cx="10028238" cy="1231900"/>
          </a:xfrm>
          <a:solidFill>
            <a:srgbClr val="000000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272734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 bwMode="invGray"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 bwMode="white"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white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white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55500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811092"/>
            <a:ext cx="8588453" cy="3977640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600">
                <a:solidFill>
                  <a:schemeClr val="tx2"/>
                </a:solidFill>
              </a:defRPr>
            </a:lvl2pPr>
            <a:lvl3pPr marL="173038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baseline="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8pPr>
            <a:lvl9pPr marL="1203325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  <a:p>
            <a:pPr lvl="4"/>
            <a:r>
              <a:rPr lang="en-US" dirty="0"/>
              <a:t>Fourth-level</a:t>
            </a:r>
          </a:p>
          <a:p>
            <a:pPr lvl="5"/>
            <a:r>
              <a:rPr lang="en-US" dirty="0"/>
              <a:t>Fifth-level</a:t>
            </a:r>
          </a:p>
          <a:p>
            <a:pPr lvl="6"/>
            <a:r>
              <a:rPr lang="en-US" dirty="0"/>
              <a:t>Sixth-level</a:t>
            </a:r>
          </a:p>
          <a:p>
            <a:pPr lvl="7"/>
            <a:r>
              <a:rPr lang="en-US" dirty="0"/>
              <a:t>Seventh-level</a:t>
            </a:r>
          </a:p>
          <a:p>
            <a:pPr lvl="8"/>
            <a:r>
              <a:rPr lang="en-US" dirty="0"/>
              <a:t>Eighth-level</a:t>
            </a:r>
          </a:p>
        </p:txBody>
      </p:sp>
    </p:spTree>
    <p:extLst>
      <p:ext uri="{BB962C8B-B14F-4D97-AF65-F5344CB8AC3E}">
        <p14:creationId xmlns:p14="http://schemas.microsoft.com/office/powerpoint/2010/main" val="7810368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3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3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>
              <a:buClrTx/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5322939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 — add sentence case title he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AC55CAB-17A7-424F-9F54-62117FE099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70061" y="1771650"/>
            <a:ext cx="5030510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89F6773-F1D4-4DCC-80D0-99EA5118698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320" y="1771650"/>
            <a:ext cx="5030510" cy="3981450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166688" indent="-166688">
              <a:buFont typeface="Arial" panose="020B0604020202020204" pitchFamily="34" charset="0"/>
              <a:buChar char="•"/>
              <a:defRPr/>
            </a:lvl3pPr>
            <a:lvl4pPr marL="346075" indent="-179388">
              <a:buFont typeface="Arial" panose="020B0604020202020204" pitchFamily="34" charset="0"/>
              <a:buChar char="–"/>
              <a:defRPr/>
            </a:lvl4pPr>
            <a:lvl5pPr marL="512763" indent="-166688">
              <a:buFont typeface="Arial" panose="020B0604020202020204" pitchFamily="34" charset="0"/>
              <a:buChar char="•"/>
              <a:defRPr/>
            </a:lvl5pPr>
            <a:lvl6pPr marL="692150" indent="-179388">
              <a:buFont typeface="Arial" panose="020B0604020202020204" pitchFamily="34" charset="0"/>
              <a:buChar char="–"/>
              <a:defRPr/>
            </a:lvl6pPr>
            <a:lvl7pPr marL="692150" indent="0">
              <a:buFont typeface="Arial" panose="020B0604020202020204" pitchFamily="34" charset="0"/>
              <a:buNone/>
              <a:defRPr/>
            </a:lvl7pPr>
            <a:lvl8pPr marL="1025525" indent="-166688">
              <a:buFont typeface="Arial" panose="020B0604020202020204" pitchFamily="34" charset="0"/>
              <a:buChar char="–"/>
              <a:defRPr/>
            </a:lvl8pPr>
            <a:lvl9pPr marL="1204913" indent="-179388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3769894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80898007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5719619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67608724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53997740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1403180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12586439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500" b="1">
                <a:solidFill>
                  <a:schemeClr val="tx2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307873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lang="en-US" sz="1500" b="1" kern="1200" dirty="0">
                <a:solidFill>
                  <a:schemeClr val="tx2"/>
                </a:solidFill>
                <a:latin typeface="CVS Health Sans" panose="020B0504020202020204" pitchFamily="34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30707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 userDrawn="1"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500" b="1">
                <a:solidFill>
                  <a:schemeClr val="bg1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1038334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5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990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52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tags" Target="../tags/tag4.xml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84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36" Type="http://schemas.openxmlformats.org/officeDocument/2006/relationships/oleObject" Target="../embeddings/oleObject3.bin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tags" Target="../tags/tag6.xml"/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slideLayout" Target="../slideLayouts/slideLayout121.xml"/><Relationship Id="rId39" Type="http://schemas.openxmlformats.org/officeDocument/2006/relationships/theme" Target="../theme/theme4.xml"/><Relationship Id="rId21" Type="http://schemas.openxmlformats.org/officeDocument/2006/relationships/slideLayout" Target="../slideLayouts/slideLayout116.xml"/><Relationship Id="rId34" Type="http://schemas.openxmlformats.org/officeDocument/2006/relationships/slideLayout" Target="../slideLayouts/slideLayout129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29" Type="http://schemas.openxmlformats.org/officeDocument/2006/relationships/slideLayout" Target="../slideLayouts/slideLayout124.xml"/><Relationship Id="rId41" Type="http://schemas.openxmlformats.org/officeDocument/2006/relationships/oleObject" Target="../embeddings/oleObject4.bin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27.xml"/><Relationship Id="rId37" Type="http://schemas.openxmlformats.org/officeDocument/2006/relationships/slideLayout" Target="../slideLayouts/slideLayout132.xml"/><Relationship Id="rId40" Type="http://schemas.openxmlformats.org/officeDocument/2006/relationships/tags" Target="../tags/tag7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slideLayout" Target="../slideLayouts/slideLayout123.xml"/><Relationship Id="rId36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31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25.xml"/><Relationship Id="rId35" Type="http://schemas.openxmlformats.org/officeDocument/2006/relationships/slideLayout" Target="../slideLayouts/slideLayout130.xml"/><Relationship Id="rId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33" Type="http://schemas.openxmlformats.org/officeDocument/2006/relationships/slideLayout" Target="../slideLayouts/slideLayout128.xml"/><Relationship Id="rId38" Type="http://schemas.openxmlformats.org/officeDocument/2006/relationships/slideLayout" Target="../slideLayouts/slideLayout13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26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54.xml"/><Relationship Id="rId34" Type="http://schemas.openxmlformats.org/officeDocument/2006/relationships/tags" Target="../tags/tag9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8.xml"/><Relationship Id="rId33" Type="http://schemas.openxmlformats.org/officeDocument/2006/relationships/tags" Target="../tags/tag8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57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56.xml"/><Relationship Id="rId28" Type="http://schemas.openxmlformats.org/officeDocument/2006/relationships/slideLayout" Target="../slideLayouts/slideLayout161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31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55.xml"/><Relationship Id="rId27" Type="http://schemas.openxmlformats.org/officeDocument/2006/relationships/slideLayout" Target="../slideLayouts/slideLayout160.xml"/><Relationship Id="rId30" Type="http://schemas.openxmlformats.org/officeDocument/2006/relationships/slideLayout" Target="../slideLayouts/slideLayout163.xml"/><Relationship Id="rId35" Type="http://schemas.openxmlformats.org/officeDocument/2006/relationships/oleObject" Target="../embeddings/oleObject5.bin"/><Relationship Id="rId8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F4F6DE-B9CA-4105-8E00-AD89097DB2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26609258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95" imgH="396" progId="TCLayout.ActiveDocument.1">
                  <p:embed/>
                </p:oleObj>
              </mc:Choice>
              <mc:Fallback>
                <p:oleObj name="think-cell Slide" r:id="rId3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F4F6DE-B9CA-4105-8E00-AD89097DB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13FEBF-45B4-49C1-977F-3F965600EBE8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gray">
          <a:xfrm>
            <a:off x="0" y="0"/>
            <a:ext cx="158791" cy="158750"/>
          </a:xfrm>
          <a:prstGeom prst="rect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B9F1AC-7982-48A5-A9F4-F49F09D2E693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649224"/>
            <a:ext cx="9786629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20" name="Content Placeholder 8"/>
          <p:cNvSpPr txBox="1">
            <a:spLocks/>
          </p:cNvSpPr>
          <p:nvPr userDrawn="1"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ED4EB-E853-4A3A-921F-948FC7C44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930" y="1784060"/>
            <a:ext cx="11047088" cy="39690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14971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  <p:sldLayoutId id="2147483943" r:id="rId19"/>
    <p:sldLayoutId id="2147483944" r:id="rId20"/>
    <p:sldLayoutId id="2147483945" r:id="rId21"/>
    <p:sldLayoutId id="2147483946" r:id="rId22"/>
    <p:sldLayoutId id="2147483947" r:id="rId23"/>
    <p:sldLayoutId id="2147483948" r:id="rId24"/>
    <p:sldLayoutId id="2147483949" r:id="rId25"/>
    <p:sldLayoutId id="2147483686" r:id="rId26"/>
    <p:sldLayoutId id="2147483950" r:id="rId27"/>
    <p:sldLayoutId id="2147483951" r:id="rId28"/>
    <p:sldLayoutId id="2147483952" r:id="rId29"/>
    <p:sldLayoutId id="2147483953" r:id="rId30"/>
    <p:sldLayoutId id="2147483954" r:id="rId31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66688" indent="-166688" algn="l" defTabSz="457200" rtl="0" eaLnBrk="1" latinLnBrk="0" hangingPunct="1">
        <a:spcBef>
          <a:spcPts val="1200"/>
        </a:spcBef>
        <a:buClrTx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346075" marR="0" indent="-174625" algn="l" defTabSz="4572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682625" indent="-168275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462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030288" indent="-173038" algn="l" defTabSz="457200" rtl="0" eaLnBrk="1" latinLnBrk="0" hangingPunct="1">
        <a:spcBef>
          <a:spcPts val="600"/>
        </a:spcBef>
        <a:buFont typeface="Arial" panose="020B0604020202020204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203325" indent="-173038" algn="l" defTabSz="457200" rtl="0" eaLnBrk="1" latinLnBrk="0" hangingPunct="1">
        <a:spcBef>
          <a:spcPts val="600"/>
        </a:spcBef>
        <a:buFont typeface="Arial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1377950" indent="-174625" algn="l" defTabSz="457200" rtl="0" eaLnBrk="1" latinLnBrk="0" hangingPunct="1">
        <a:spcBef>
          <a:spcPts val="600"/>
        </a:spcBef>
        <a:buFont typeface="Arial" panose="020B0604020202020204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9">
          <p15:clr>
            <a:srgbClr val="F26B43"/>
          </p15:clr>
        </p15:guide>
        <p15:guide id="2" pos="7319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112">
          <p15:clr>
            <a:srgbClr val="F26B43"/>
          </p15:clr>
        </p15:guide>
        <p15:guide id="5" orient="horz" pos="1116">
          <p15:clr>
            <a:srgbClr val="F26B43"/>
          </p15:clr>
        </p15:guide>
        <p15:guide id="6" orient="horz" pos="36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F4F6DE-B9CA-4105-8E00-AD89097DB2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49216219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6" progId="TCLayout.ActiveDocument.1">
                  <p:embed/>
                </p:oleObj>
              </mc:Choice>
              <mc:Fallback>
                <p:oleObj name="think-cell Slide" r:id="rId36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F4F6DE-B9CA-4105-8E00-AD89097DB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13FEBF-45B4-49C1-977F-3F965600EBE8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gray">
          <a:xfrm>
            <a:off x="0" y="0"/>
            <a:ext cx="158791" cy="158750"/>
          </a:xfrm>
          <a:prstGeom prst="rect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B9F1AC-7982-48A5-A9F4-F49F09D2E693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649224"/>
            <a:ext cx="9786629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20" name="Content Placeholder 8"/>
          <p:cNvSpPr txBox="1">
            <a:spLocks/>
          </p:cNvSpPr>
          <p:nvPr userDrawn="1"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ED4EB-E853-4A3A-921F-948FC7C44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930" y="1784060"/>
            <a:ext cx="11047088" cy="39690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01406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4" r:id="rId32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66688" indent="-166688" algn="l" defTabSz="457200" rtl="0" eaLnBrk="1" latinLnBrk="0" hangingPunct="1">
        <a:spcBef>
          <a:spcPts val="1200"/>
        </a:spcBef>
        <a:buClrTx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346075" marR="0" indent="-174625" algn="l" defTabSz="4572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682625" indent="-168275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462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030288" indent="-173038" algn="l" defTabSz="457200" rtl="0" eaLnBrk="1" latinLnBrk="0" hangingPunct="1">
        <a:spcBef>
          <a:spcPts val="600"/>
        </a:spcBef>
        <a:buFont typeface="Arial" panose="020B0604020202020204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203325" indent="-173038" algn="l" defTabSz="457200" rtl="0" eaLnBrk="1" latinLnBrk="0" hangingPunct="1">
        <a:spcBef>
          <a:spcPts val="600"/>
        </a:spcBef>
        <a:buFont typeface="Arial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1377950" indent="-174625" algn="l" defTabSz="457200" rtl="0" eaLnBrk="1" latinLnBrk="0" hangingPunct="1">
        <a:spcBef>
          <a:spcPts val="600"/>
        </a:spcBef>
        <a:buFont typeface="Arial" panose="020B0604020202020204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9">
          <p15:clr>
            <a:srgbClr val="F26B43"/>
          </p15:clr>
        </p15:guide>
        <p15:guide id="2" pos="7319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112">
          <p15:clr>
            <a:srgbClr val="F26B43"/>
          </p15:clr>
        </p15:guide>
        <p15:guide id="5" orient="horz" pos="1116">
          <p15:clr>
            <a:srgbClr val="F26B43"/>
          </p15:clr>
        </p15:guide>
        <p15:guide id="6" orient="horz" pos="362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F4F6DE-B9CA-4105-8E00-AD89097DB2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1004436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6" progId="TCLayout.ActiveDocument.1">
                  <p:embed/>
                </p:oleObj>
              </mc:Choice>
              <mc:Fallback>
                <p:oleObj name="think-cell Slide" r:id="rId36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F4F6DE-B9CA-4105-8E00-AD89097DB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13FEBF-45B4-49C1-977F-3F965600EBE8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gray">
          <a:xfrm>
            <a:off x="0" y="0"/>
            <a:ext cx="158791" cy="158750"/>
          </a:xfrm>
          <a:prstGeom prst="rect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B9F1AC-7982-48A5-A9F4-F49F09D2E693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649224"/>
            <a:ext cx="9786629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20" name="Content Placeholder 8"/>
          <p:cNvSpPr txBox="1">
            <a:spLocks/>
          </p:cNvSpPr>
          <p:nvPr userDrawn="1"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ED4EB-E853-4A3A-921F-948FC7C44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930" y="1784060"/>
            <a:ext cx="11047088" cy="39690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975430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  <p:sldLayoutId id="2147483755" r:id="rId30"/>
    <p:sldLayoutId id="2147483756" r:id="rId31"/>
    <p:sldLayoutId id="2147483757" r:id="rId32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66688" indent="-166688" algn="l" defTabSz="457200" rtl="0" eaLnBrk="1" latinLnBrk="0" hangingPunct="1">
        <a:spcBef>
          <a:spcPts val="1200"/>
        </a:spcBef>
        <a:buClrTx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346075" marR="0" indent="-174625" algn="l" defTabSz="4572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682625" indent="-168275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462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030288" indent="-173038" algn="l" defTabSz="457200" rtl="0" eaLnBrk="1" latinLnBrk="0" hangingPunct="1">
        <a:spcBef>
          <a:spcPts val="600"/>
        </a:spcBef>
        <a:buFont typeface="Arial" panose="020B0604020202020204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203325" indent="-173038" algn="l" defTabSz="457200" rtl="0" eaLnBrk="1" latinLnBrk="0" hangingPunct="1">
        <a:spcBef>
          <a:spcPts val="600"/>
        </a:spcBef>
        <a:buFont typeface="Arial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1377950" indent="-174625" algn="l" defTabSz="457200" rtl="0" eaLnBrk="1" latinLnBrk="0" hangingPunct="1">
        <a:spcBef>
          <a:spcPts val="600"/>
        </a:spcBef>
        <a:buFont typeface="Arial" panose="020B0604020202020204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9">
          <p15:clr>
            <a:srgbClr val="F26B43"/>
          </p15:clr>
        </p15:guide>
        <p15:guide id="2" pos="7319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112">
          <p15:clr>
            <a:srgbClr val="F26B43"/>
          </p15:clr>
        </p15:guide>
        <p15:guide id="5" orient="horz" pos="1116">
          <p15:clr>
            <a:srgbClr val="F26B43"/>
          </p15:clr>
        </p15:guide>
        <p15:guide id="6" orient="horz" pos="362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6C89B3-E5DE-42DB-8B47-459BFBCC22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63333532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16" imgH="416" progId="TCLayout.ActiveDocument.1">
                  <p:embed/>
                </p:oleObj>
              </mc:Choice>
              <mc:Fallback>
                <p:oleObj name="think-cell Slide" r:id="rId41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6C89B3-E5DE-42DB-8B47-459BFBCC2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0" smtClean="0">
                <a:solidFill>
                  <a:schemeClr val="tx2"/>
                </a:solidFill>
                <a:latin typeface="CVS Health Sans Medium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0" dirty="0">
              <a:solidFill>
                <a:schemeClr val="tx2"/>
              </a:solidFill>
              <a:latin typeface="CVS Health Sans Medium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CVS Health Sans" panose="020B0504020202020204" pitchFamily="34" charset="0"/>
              </a:rPr>
              <a:t>©2021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695679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82" r:id="rId2"/>
    <p:sldLayoutId id="2147483883" r:id="rId3"/>
    <p:sldLayoutId id="2147483884" r:id="rId4"/>
    <p:sldLayoutId id="2147483887" r:id="rId5"/>
    <p:sldLayoutId id="2147483886" r:id="rId6"/>
    <p:sldLayoutId id="2147483923" r:id="rId7"/>
    <p:sldLayoutId id="2147483870" r:id="rId8"/>
    <p:sldLayoutId id="2147483888" r:id="rId9"/>
    <p:sldLayoutId id="2147483889" r:id="rId10"/>
    <p:sldLayoutId id="2147483891" r:id="rId11"/>
    <p:sldLayoutId id="2147483892" r:id="rId12"/>
    <p:sldLayoutId id="2147483871" r:id="rId13"/>
    <p:sldLayoutId id="2147483893" r:id="rId14"/>
    <p:sldLayoutId id="2147483894" r:id="rId15"/>
    <p:sldLayoutId id="2147483896" r:id="rId16"/>
    <p:sldLayoutId id="2147483898" r:id="rId17"/>
    <p:sldLayoutId id="2147483900" r:id="rId18"/>
    <p:sldLayoutId id="2147483901" r:id="rId19"/>
    <p:sldLayoutId id="2147483902" r:id="rId20"/>
    <p:sldLayoutId id="2147483904" r:id="rId21"/>
    <p:sldLayoutId id="2147483905" r:id="rId22"/>
    <p:sldLayoutId id="2147483907" r:id="rId23"/>
    <p:sldLayoutId id="2147483909" r:id="rId24"/>
    <p:sldLayoutId id="2147483906" r:id="rId25"/>
    <p:sldLayoutId id="2147483908" r:id="rId26"/>
    <p:sldLayoutId id="2147483910" r:id="rId27"/>
    <p:sldLayoutId id="2147483911" r:id="rId28"/>
    <p:sldLayoutId id="2147483917" r:id="rId29"/>
    <p:sldLayoutId id="2147483912" r:id="rId30"/>
    <p:sldLayoutId id="2147483913" r:id="rId31"/>
    <p:sldLayoutId id="2147483878" r:id="rId32"/>
    <p:sldLayoutId id="2147483919" r:id="rId33"/>
    <p:sldLayoutId id="2147483879" r:id="rId34"/>
    <p:sldLayoutId id="2147483922" r:id="rId35"/>
    <p:sldLayoutId id="2147483920" r:id="rId36"/>
    <p:sldLayoutId id="2147483914" r:id="rId37"/>
    <p:sldLayoutId id="2147483915" r:id="rId38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800"/>
        </a:spcBef>
        <a:buClrTx/>
        <a:buFont typeface="Arial"/>
        <a:buNone/>
        <a:defRPr sz="13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lnSpc>
          <a:spcPct val="100000"/>
        </a:lnSpc>
        <a:spcBef>
          <a:spcPts val="1200"/>
        </a:spcBef>
        <a:buClrTx/>
        <a:buFont typeface="Arial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Lucida Grande"/>
        <a:buChar char="–"/>
        <a:defRPr sz="13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3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 userDrawn="1">
          <p15:clr>
            <a:srgbClr val="F26B43"/>
          </p15:clr>
        </p15:guide>
        <p15:guide id="2" pos="362" userDrawn="1">
          <p15:clr>
            <a:srgbClr val="F26B43"/>
          </p15:clr>
        </p15:guide>
        <p15:guide id="3" pos="7321" userDrawn="1">
          <p15:clr>
            <a:srgbClr val="F26B43"/>
          </p15:clr>
        </p15:guide>
        <p15:guide id="4" orient="horz" pos="360" userDrawn="1">
          <p15:clr>
            <a:srgbClr val="F26B43"/>
          </p15:clr>
        </p15:guide>
        <p15:guide id="5" orient="horz" pos="3622" userDrawn="1">
          <p15:clr>
            <a:srgbClr val="F26B43"/>
          </p15:clr>
        </p15:guide>
        <p15:guide id="6" orient="horz" pos="411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F4F6DE-B9CA-4105-8E00-AD89097DB2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5646374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95" imgH="396" progId="TCLayout.ActiveDocument.1">
                  <p:embed/>
                </p:oleObj>
              </mc:Choice>
              <mc:Fallback>
                <p:oleObj name="think-cell Slide" r:id="rId3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F4F6DE-B9CA-4105-8E00-AD89097DB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13FEBF-45B4-49C1-977F-3F965600EBE8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gray">
          <a:xfrm>
            <a:off x="0" y="0"/>
            <a:ext cx="158791" cy="158750"/>
          </a:xfrm>
          <a:prstGeom prst="rect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B9F1AC-7982-48A5-A9F4-F49F09D2E693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649224"/>
            <a:ext cx="9786629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20" name="Content Placeholder 8"/>
          <p:cNvSpPr txBox="1">
            <a:spLocks/>
          </p:cNvSpPr>
          <p:nvPr userDrawn="1"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ED4EB-E853-4A3A-921F-948FC7C44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930" y="1784060"/>
            <a:ext cx="11047088" cy="39690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777094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66688" indent="-166688" algn="l" defTabSz="457200" rtl="0" eaLnBrk="1" latinLnBrk="0" hangingPunct="1">
        <a:spcBef>
          <a:spcPts val="1200"/>
        </a:spcBef>
        <a:buClrTx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346075" marR="0" indent="-174625" algn="l" defTabSz="4572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–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682625" indent="-168275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462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030288" indent="-173038" algn="l" defTabSz="457200" rtl="0" eaLnBrk="1" latinLnBrk="0" hangingPunct="1">
        <a:spcBef>
          <a:spcPts val="600"/>
        </a:spcBef>
        <a:buFont typeface="Arial" panose="020B0604020202020204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203325" indent="-173038" algn="l" defTabSz="457200" rtl="0" eaLnBrk="1" latinLnBrk="0" hangingPunct="1">
        <a:spcBef>
          <a:spcPts val="600"/>
        </a:spcBef>
        <a:buFont typeface="Arial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1377950" indent="-174625" algn="l" defTabSz="457200" rtl="0" eaLnBrk="1" latinLnBrk="0" hangingPunct="1">
        <a:spcBef>
          <a:spcPts val="600"/>
        </a:spcBef>
        <a:buFont typeface="Arial" panose="020B0604020202020204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9">
          <p15:clr>
            <a:srgbClr val="F26B43"/>
          </p15:clr>
        </p15:guide>
        <p15:guide id="2" pos="7319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112">
          <p15:clr>
            <a:srgbClr val="F26B43"/>
          </p15:clr>
        </p15:guide>
        <p15:guide id="5" orient="horz" pos="1116">
          <p15:clr>
            <a:srgbClr val="F26B43"/>
          </p15:clr>
        </p15:guide>
        <p15:guide id="6" orient="horz" pos="36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6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cloud.google.com/bigquery/docs/query-plan-explanation" TargetMode="External"/><Relationship Id="rId2" Type="http://schemas.openxmlformats.org/officeDocument/2006/relationships/hyperlink" Target="https://storage.googleapis.com/pub-tools-public-publication-data/pdf/37217.pdf" TargetMode="External"/><Relationship Id="rId1" Type="http://schemas.openxmlformats.org/officeDocument/2006/relationships/slideLayout" Target="../slideLayouts/slideLayout115.xml"/><Relationship Id="rId6" Type="http://schemas.openxmlformats.org/officeDocument/2006/relationships/hyperlink" Target="https://medium.com/slalom-build/using-bigquery-execution-plans-to-improve-query-performance-af141b0cc33d" TargetMode="External"/><Relationship Id="rId5" Type="http://schemas.openxmlformats.org/officeDocument/2006/relationships/hyperlink" Target="https://research.google/pubs/pub36632/" TargetMode="External"/><Relationship Id="rId4" Type="http://schemas.openxmlformats.org/officeDocument/2006/relationships/hyperlink" Target="https://cloud.google.com/blog/topics/developers-practitioners/bigquery-admin-reference-guide-storage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en.wikipedia.org/wiki/Reed%E2%80%93Solomon_error_correction" TargetMode="External"/><Relationship Id="rId1" Type="http://schemas.openxmlformats.org/officeDocument/2006/relationships/slideLayout" Target="../slideLayouts/slideLayout1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0.xml"/><Relationship Id="rId5" Type="http://schemas.openxmlformats.org/officeDocument/2006/relationships/comments" Target="../comments/comment1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557930" y="2266950"/>
            <a:ext cx="5185646" cy="1704975"/>
          </a:xfrm>
        </p:spPr>
        <p:txBody>
          <a:bodyPr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3600" dirty="0"/>
              <a:t>Internals of Google BigQuery and Best Practices</a:t>
            </a:r>
            <a:br>
              <a:rPr lang="en-US" sz="3600" dirty="0"/>
            </a:br>
            <a:br>
              <a:rPr lang="en-US" sz="3600" dirty="0"/>
            </a:br>
            <a:endParaRPr lang="en-US" sz="3600" dirty="0">
              <a:latin typeface="+mn-lt"/>
              <a:ea typeface="+mn-ea"/>
              <a:cs typeface="Arial"/>
            </a:endParaRP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25F197C7-671E-440D-91C4-9B4950EA07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350" y="4238624"/>
            <a:ext cx="2495550" cy="242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4135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141AD-1E96-4D3E-90DC-DEE2C9894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</p:spPr>
        <p:txBody>
          <a:bodyPr anchor="t">
            <a:normAutofit/>
          </a:bodyPr>
          <a:lstStyle/>
          <a:p>
            <a:r>
              <a:rPr lang="en-US" dirty="0"/>
              <a:t>Denormalize / Pre-Join Where Possib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629A2F-0543-41D5-9B00-9A764D7BEA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9422" y="2532654"/>
            <a:ext cx="7792889" cy="2756822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441EDA-B1B8-420C-A1BE-BCA4357BF4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928" y="1767531"/>
            <a:ext cx="3439040" cy="2971800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Best Perform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Only pay for Columns you n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ested / repeated filed </a:t>
            </a:r>
          </a:p>
        </p:txBody>
      </p:sp>
    </p:spTree>
    <p:extLst>
      <p:ext uri="{BB962C8B-B14F-4D97-AF65-F5344CB8AC3E}">
        <p14:creationId xmlns:p14="http://schemas.microsoft.com/office/powerpoint/2010/main" val="22242717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98187-913E-4C11-A894-E4F8A2C0F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</p:spPr>
        <p:txBody>
          <a:bodyPr anchor="t">
            <a:normAutofit/>
          </a:bodyPr>
          <a:lstStyle/>
          <a:p>
            <a:r>
              <a:rPr lang="en-US" dirty="0"/>
              <a:t>Partitioning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D88C7CE-28FC-98B3-2D64-28277DCB3D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929" y="1767532"/>
            <a:ext cx="5238478" cy="3973512"/>
          </a:xfrm>
        </p:spPr>
        <p:txBody>
          <a:bodyPr/>
          <a:lstStyle/>
          <a:p>
            <a:r>
              <a:rPr lang="en-US" dirty="0"/>
              <a:t>. </a:t>
            </a: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A partitioned table is a special table that is divided into segments, called parti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BigQuery leverages partitioning to minimize the amount of data that workers read from disk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BigQuery supports the following ways to create partitioned tables:</a:t>
            </a:r>
            <a:endParaRPr lang="en-US" b="0" dirty="0">
              <a:solidFill>
                <a:srgbClr val="202124"/>
              </a:solidFill>
              <a:latin typeface="Google Sans"/>
            </a:endParaRPr>
          </a:p>
          <a:p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  - Ingestion Time Partitioned tables</a:t>
            </a:r>
          </a:p>
          <a:p>
            <a:r>
              <a:rPr lang="en-US" b="0" dirty="0">
                <a:solidFill>
                  <a:srgbClr val="202124"/>
                </a:solidFill>
                <a:latin typeface="Google Sans"/>
              </a:rPr>
              <a:t> - Time –Unit Column Partition</a:t>
            </a:r>
          </a:p>
          <a:p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- Integer range partition.</a:t>
            </a:r>
          </a:p>
          <a:p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8B887CB-A512-4935-997E-3FBA2A1D41DB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2"/>
          <a:stretch>
            <a:fillRect/>
          </a:stretch>
        </p:blipFill>
        <p:spPr>
          <a:xfrm>
            <a:off x="6384175" y="2156553"/>
            <a:ext cx="5238478" cy="3195470"/>
          </a:xfrm>
          <a:noFill/>
        </p:spPr>
      </p:pic>
    </p:spTree>
    <p:extLst>
      <p:ext uri="{BB962C8B-B14F-4D97-AF65-F5344CB8AC3E}">
        <p14:creationId xmlns:p14="http://schemas.microsoft.com/office/powerpoint/2010/main" val="16134472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844AE8-E977-4E62-A0EE-62048B2AF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</p:spPr>
        <p:txBody>
          <a:bodyPr anchor="t">
            <a:normAutofit/>
          </a:bodyPr>
          <a:lstStyle/>
          <a:p>
            <a:r>
              <a:rPr lang="en-US" dirty="0"/>
              <a:t>Clust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64D2A-8ED5-40AF-A78B-2D9C679F5C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929" y="1767532"/>
            <a:ext cx="5238478" cy="3973512"/>
          </a:xfrm>
        </p:spPr>
        <p:txBody>
          <a:bodyPr>
            <a:normAutofit lnSpcReduction="10000"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b="0"/>
              <a:t>When table is clustered, </a:t>
            </a:r>
            <a:r>
              <a:rPr lang="en-US" b="0" i="0">
                <a:effectLst/>
              </a:rPr>
              <a:t> the data is automatically sorted based on the contents of one or more columns (up to 4, that you specify).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b="0" i="0">
                <a:effectLst/>
              </a:rPr>
              <a:t>Usually high cardinality and non-temporal columns are preferred for clustering, as opposed to partitioning which is better for fields with lower cardinality. 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b="0" i="0">
                <a:effectLst/>
              </a:rPr>
              <a:t>Clustering can improve the performance of certain types of queries such as queries that use filter clauses and queries that aggregate data</a:t>
            </a:r>
            <a:endParaRPr lang="en-US" b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b="0" i="0">
                <a:effectLst/>
              </a:rPr>
              <a:t>The main cost of clustering is longer load times, but sometime worth it.</a:t>
            </a:r>
          </a:p>
          <a:p>
            <a:pPr>
              <a:lnSpc>
                <a:spcPct val="90000"/>
              </a:lnSpc>
            </a:pPr>
            <a:endParaRPr lang="en-US" b="0"/>
          </a:p>
        </p:txBody>
      </p:sp>
      <p:pic>
        <p:nvPicPr>
          <p:cNvPr id="6" name="Content Placeholder 5" descr="Timeline&#10;&#10;Description automatically generated">
            <a:extLst>
              <a:ext uri="{FF2B5EF4-FFF2-40B4-BE49-F238E27FC236}">
                <a16:creationId xmlns:a16="http://schemas.microsoft.com/office/drawing/2014/main" id="{3E6BB726-03C9-4AD4-ACE5-BEA3D44958D9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2"/>
          <a:stretch>
            <a:fillRect/>
          </a:stretch>
        </p:blipFill>
        <p:spPr>
          <a:xfrm>
            <a:off x="6384175" y="2058331"/>
            <a:ext cx="5238478" cy="3391913"/>
          </a:xfrm>
          <a:noFill/>
        </p:spPr>
      </p:pic>
    </p:spTree>
    <p:extLst>
      <p:ext uri="{BB962C8B-B14F-4D97-AF65-F5344CB8AC3E}">
        <p14:creationId xmlns:p14="http://schemas.microsoft.com/office/powerpoint/2010/main" val="41704282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F76E1-FAA1-4FA3-8C99-D78720FC3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e for Query vs. Storage Costs	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2836DB-D844-4A02-B394-C2280BDFFA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927" y="1767531"/>
            <a:ext cx="7490698" cy="456011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mon Queries 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Materialized Vie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th Pre-aggregated data: faster + cheaper qu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e data in multiple table</a:t>
            </a:r>
          </a:p>
          <a:p>
            <a:r>
              <a:rPr lang="en-US" dirty="0"/>
              <a:t>  </a:t>
            </a:r>
            <a:r>
              <a:rPr lang="en-US" b="0" dirty="0"/>
              <a:t>- table for daily data</a:t>
            </a:r>
          </a:p>
          <a:p>
            <a:r>
              <a:rPr lang="en-US" b="0" dirty="0"/>
              <a:t> - table for weekly data</a:t>
            </a:r>
          </a:p>
          <a:p>
            <a:r>
              <a:rPr lang="en-US" b="0" dirty="0"/>
              <a:t> - table for monthly data</a:t>
            </a:r>
          </a:p>
        </p:txBody>
      </p:sp>
    </p:spTree>
    <p:extLst>
      <p:ext uri="{BB962C8B-B14F-4D97-AF65-F5344CB8AC3E}">
        <p14:creationId xmlns:p14="http://schemas.microsoft.com/office/powerpoint/2010/main" val="466766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07524-79D6-43BC-861C-808F5A119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ecorato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31858-9AD6-4830-BC07-ADA9B63764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928" y="1767531"/>
            <a:ext cx="5538072" cy="4280844"/>
          </a:xfrm>
        </p:spPr>
        <p:txBody>
          <a:bodyPr/>
          <a:lstStyle/>
          <a:p>
            <a:r>
              <a:rPr lang="en-US" b="0" dirty="0"/>
              <a:t>Only way to avoid full table scans.</a:t>
            </a:r>
          </a:p>
          <a:p>
            <a:r>
              <a:rPr lang="en-US" b="0" dirty="0">
                <a:solidFill>
                  <a:srgbClr val="202124"/>
                </a:solidFill>
                <a:latin typeface="Roboto" panose="02000000000000000000" pitchFamily="2" charset="0"/>
              </a:rPr>
              <a:t>P</a:t>
            </a:r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erform a more cost-effective query of a subset of your data.</a:t>
            </a:r>
          </a:p>
          <a:p>
            <a:r>
              <a:rPr lang="en-US" b="0" dirty="0">
                <a:solidFill>
                  <a:srgbClr val="202124"/>
                </a:solidFill>
                <a:latin typeface="Roboto" panose="02000000000000000000" pitchFamily="2" charset="0"/>
              </a:rPr>
              <a:t>Table decorator support relative and absolute &lt;time&gt; val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202124"/>
                </a:solidFill>
                <a:latin typeface="Roboto" panose="02000000000000000000" pitchFamily="2" charset="0"/>
              </a:rPr>
              <a:t> Time Decor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202124"/>
                </a:solidFill>
                <a:latin typeface="Roboto" panose="02000000000000000000" pitchFamily="2" charset="0"/>
              </a:rPr>
              <a:t>Range Decorato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202124"/>
                </a:solidFill>
                <a:latin typeface="Roboto" panose="02000000000000000000" pitchFamily="2" charset="0"/>
              </a:rPr>
              <a:t>Undelete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solidFill>
                <a:srgbClr val="202124"/>
              </a:solidFill>
              <a:latin typeface="Roboto" panose="02000000000000000000" pitchFamily="2" charset="0"/>
            </a:endParaRPr>
          </a:p>
          <a:p>
            <a:endParaRPr lang="en-US" b="0" i="0" dirty="0">
              <a:solidFill>
                <a:srgbClr val="202124"/>
              </a:solidFill>
              <a:effectLst/>
              <a:latin typeface="Roboto" panose="02000000000000000000" pitchFamily="2" charset="0"/>
            </a:endParaRPr>
          </a:p>
          <a:p>
            <a:endParaRPr lang="en-US" b="0" dirty="0">
              <a:solidFill>
                <a:srgbClr val="202124"/>
              </a:solidFill>
              <a:latin typeface="Roboto" panose="02000000000000000000" pitchFamily="2" charset="0"/>
            </a:endParaRPr>
          </a:p>
          <a:p>
            <a:endParaRPr lang="en-US" b="0" i="0" dirty="0">
              <a:solidFill>
                <a:srgbClr val="202124"/>
              </a:solidFill>
              <a:effectLst/>
              <a:latin typeface="Roboto" panose="02000000000000000000" pitchFamily="2" charset="0"/>
            </a:endParaRP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D3FED2D-CB5F-43F2-B9AC-DD04E48014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4137" y="1767531"/>
            <a:ext cx="5095875" cy="9048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E497425-0790-4508-A454-E4F3C3CFCE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8850" y="2905125"/>
            <a:ext cx="607695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743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47ABF-7BC4-43F2-AD35-2BBC2642FC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ry Optimiz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69D4D2-506D-44DC-BFEE-41EA26AEF8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001" y="886967"/>
            <a:ext cx="5509494" cy="3437294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40F53BF-A8B4-4CAB-885E-81DB8EAFB4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069" y="4452278"/>
            <a:ext cx="3905251" cy="158115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C55A5E7-EF84-4EBC-8A5C-983DF201D51F}"/>
              </a:ext>
            </a:extLst>
          </p:cNvPr>
          <p:cNvSpPr txBox="1"/>
          <p:nvPr/>
        </p:nvSpPr>
        <p:spPr>
          <a:xfrm>
            <a:off x="557929" y="1371600"/>
            <a:ext cx="5814296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rgbClr val="292929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92929"/>
                </a:solidFill>
              </a:rPr>
              <a:t>Four main Stages </a:t>
            </a:r>
          </a:p>
          <a:p>
            <a:pPr algn="l"/>
            <a:r>
              <a:rPr lang="en-US" sz="1600" dirty="0">
                <a:solidFill>
                  <a:srgbClr val="292929"/>
                </a:solidFill>
              </a:rPr>
              <a:t>    - Compute Phase </a:t>
            </a:r>
          </a:p>
          <a:p>
            <a:pPr algn="l"/>
            <a:r>
              <a:rPr lang="en-US" sz="1600" dirty="0">
                <a:solidFill>
                  <a:srgbClr val="292929"/>
                </a:solidFill>
              </a:rPr>
              <a:t>    - Waiting Phase</a:t>
            </a:r>
          </a:p>
          <a:p>
            <a:pPr algn="l"/>
            <a:r>
              <a:rPr lang="en-US" sz="1600" dirty="0">
                <a:solidFill>
                  <a:srgbClr val="292929"/>
                </a:solidFill>
              </a:rPr>
              <a:t>    - Read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292929"/>
                </a:solidFill>
                <a:effectLst/>
              </a:rPr>
              <a:t>A well-tuned query typically spends most of its time in the compute phase.</a:t>
            </a:r>
            <a:endParaRPr lang="en-US" sz="1600" dirty="0">
              <a:solidFill>
                <a:srgbClr val="292929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292929"/>
                </a:solidFill>
                <a:effectLst/>
              </a:rPr>
              <a:t>An average compute time close to max compute time indicates an even distribution of data coming out of the previous stag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267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BCA35-4E40-4252-8E7C-8D072CA0D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rrow Table Sca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514B06-49BE-435C-A1E5-599EA3FDE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928" y="1767531"/>
            <a:ext cx="9748122" cy="2971800"/>
          </a:xfrm>
        </p:spPr>
        <p:txBody>
          <a:bodyPr/>
          <a:lstStyle/>
          <a:p>
            <a:r>
              <a:rPr lang="en-US" dirty="0"/>
              <a:t>You pay for the columns you read </a:t>
            </a:r>
          </a:p>
          <a:p>
            <a:endParaRPr lang="en-US" dirty="0"/>
          </a:p>
          <a:p>
            <a:r>
              <a:rPr lang="en-US" dirty="0"/>
              <a:t>Don’t use “SELECT *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9998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A720C-9C2D-4913-A6C9-1A00B5ADE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44ED4D-B3BA-47AF-84CA-451D8B714C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927" y="1767531"/>
            <a:ext cx="10710147" cy="437609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storage.googleapis.com/pub-tools-public-publication-data/pdf/37217.pdf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https://cloud.google.com/bigquery/docs/query-plan-explanation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https://cloud.google.com/blog/topics/developers-practitioners/bigquery-admin-reference-guide-storag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https://research.google/pubs/pub36632/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6"/>
              </a:rPr>
              <a:t>https://medium.com/slalom-build/using-bigquery-execution-plans-to-improve-query-performance-af141b0cc33d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https://cloud.google.com/blog/topics/developers-practitioners/bigquery-admin-reference-guide-storag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6255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892178" y="3128869"/>
            <a:ext cx="5203822" cy="2011680"/>
          </a:xfrm>
        </p:spPr>
        <p:txBody>
          <a:bodyPr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3600" dirty="0"/>
              <a:t>Thank you</a:t>
            </a:r>
            <a:endParaRPr lang="en-US" sz="3600" dirty="0">
              <a:latin typeface="+mn-lt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2473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C6296161-7339-7C4B-883C-EEDE04E0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285" y="614077"/>
            <a:ext cx="10992940" cy="547316"/>
          </a:xfrm>
        </p:spPr>
        <p:txBody>
          <a:bodyPr/>
          <a:lstStyle/>
          <a:p>
            <a:r>
              <a:rPr lang="en-US" dirty="0"/>
              <a:t>This tal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07B5004-6EF1-534B-9DB2-6BB557E83D9C}"/>
              </a:ext>
            </a:extLst>
          </p:cNvPr>
          <p:cNvSpPr txBox="1"/>
          <p:nvPr/>
        </p:nvSpPr>
        <p:spPr>
          <a:xfrm>
            <a:off x="558286" y="1682609"/>
            <a:ext cx="5166240" cy="45613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noAutofit/>
          </a:bodyPr>
          <a:lstStyle/>
          <a:p>
            <a:pPr lvl="1" defTabSz="456758"/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What is BigQuery?</a:t>
            </a: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BigQuery Architecture </a:t>
            </a: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Dremel Architecture</a:t>
            </a: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Columnar Storage</a:t>
            </a: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Capacitors</a:t>
            </a: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Tree Architecture Query Execution</a:t>
            </a:r>
          </a:p>
          <a:p>
            <a:pPr lvl="1" defTabSz="456758"/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Best Practices </a:t>
            </a: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285750" indent="-285750" defTabSz="456758">
              <a:buFont typeface="Arial"/>
              <a:buChar char="•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  <a:p>
            <a:pPr marL="742950" lvl="1" indent="-285750" defTabSz="456758">
              <a:buFont typeface="Arial"/>
              <a:buChar char="•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AE552018-6C79-4D54-8763-A5BAFF8B6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400" y="2143124"/>
            <a:ext cx="2676526" cy="313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429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59961-904C-4EC1-9C28-D5A6DE00A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Big Query?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53020B-0DF8-4E53-97EE-A4FFD489E29F}"/>
              </a:ext>
            </a:extLst>
          </p:cNvPr>
          <p:cNvSpPr txBox="1"/>
          <p:nvPr/>
        </p:nvSpPr>
        <p:spPr>
          <a:xfrm>
            <a:off x="557930" y="1485900"/>
            <a:ext cx="5538070" cy="67710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sz="2000" dirty="0"/>
              <a:t> </a:t>
            </a:r>
            <a:r>
              <a:rPr lang="en-US" b="0" i="0" dirty="0">
                <a:effectLst/>
              </a:rPr>
              <a:t>Google Big Query is a Cloud Datawarehouse run by Google.  It is fully managed and cloud-based interactive query service for massive dataset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</a:rPr>
              <a:t>It is externalization of Dremel , Google core technology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</a:rPr>
              <a:t>Big Query service is available via:</a:t>
            </a:r>
          </a:p>
          <a:p>
            <a:pPr algn="l"/>
            <a:r>
              <a:rPr lang="en-US" dirty="0"/>
              <a:t>     </a:t>
            </a:r>
          </a:p>
          <a:p>
            <a:pPr algn="l"/>
            <a:r>
              <a:rPr lang="en-US" b="0" i="0" dirty="0">
                <a:effectLst/>
              </a:rPr>
              <a:t>     - Web UI</a:t>
            </a:r>
          </a:p>
          <a:p>
            <a:pPr algn="l"/>
            <a:r>
              <a:rPr lang="en-US" dirty="0"/>
              <a:t>     - Console</a:t>
            </a:r>
          </a:p>
          <a:p>
            <a:pPr algn="l"/>
            <a:r>
              <a:rPr lang="en-US" b="0" i="0" dirty="0">
                <a:effectLst/>
              </a:rPr>
              <a:t>    - API(client libraries)</a:t>
            </a:r>
          </a:p>
          <a:p>
            <a:pPr algn="l"/>
            <a:r>
              <a:rPr lang="en-US" dirty="0"/>
              <a:t>    - external tools</a:t>
            </a:r>
          </a:p>
          <a:p>
            <a:pPr algn="l"/>
            <a:r>
              <a:rPr lang="en-US" b="0" i="0" dirty="0">
                <a:effectLst/>
              </a:rPr>
              <a:t>    </a:t>
            </a:r>
            <a:r>
              <a:rPr lang="en-US" dirty="0"/>
              <a:t>- OBDC connectors</a:t>
            </a:r>
            <a:r>
              <a:rPr lang="en-US" b="0" i="0" dirty="0">
                <a:effectLst/>
              </a:rPr>
              <a:t>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32325D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 b="0" i="0" dirty="0">
              <a:solidFill>
                <a:srgbClr val="32325D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 b="0" i="0" dirty="0">
              <a:solidFill>
                <a:srgbClr val="32325D"/>
              </a:solidFill>
              <a:effectLst/>
            </a:endParaRPr>
          </a:p>
          <a:p>
            <a:br>
              <a:rPr lang="en-US" dirty="0"/>
            </a:br>
            <a:r>
              <a:rPr lang="en-US" dirty="0">
                <a:solidFill>
                  <a:schemeClr val="tx2"/>
                </a:solidFill>
              </a:rPr>
              <a:t> </a:t>
            </a:r>
          </a:p>
          <a:p>
            <a:pPr algn="l"/>
            <a:endParaRPr lang="en-US" dirty="0">
              <a:solidFill>
                <a:schemeClr val="tx2"/>
              </a:solidFill>
            </a:endParaRPr>
          </a:p>
          <a:p>
            <a:pPr algn="l"/>
            <a:endParaRPr lang="en-US" dirty="0">
              <a:solidFill>
                <a:schemeClr val="tx2"/>
              </a:solidFill>
            </a:endParaRPr>
          </a:p>
          <a:p>
            <a:pPr algn="l"/>
            <a:endParaRPr lang="en-US" dirty="0">
              <a:solidFill>
                <a:schemeClr val="tx2"/>
              </a:solidFill>
            </a:endParaRPr>
          </a:p>
          <a:p>
            <a:pPr algn="l"/>
            <a:endParaRPr lang="en-US" dirty="0">
              <a:solidFill>
                <a:schemeClr val="tx2"/>
              </a:solidFill>
            </a:endParaRPr>
          </a:p>
          <a:p>
            <a:pPr algn="l"/>
            <a:endParaRPr lang="en-US" dirty="0" err="1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3AD7E6A-79A1-464A-A9AD-B16CE56FC0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9994" y="1048206"/>
            <a:ext cx="4981576" cy="441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576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C6296161-7339-7C4B-883C-EEDE04E0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30351"/>
            <a:ext cx="4884168" cy="713232"/>
          </a:xfrm>
        </p:spPr>
        <p:txBody>
          <a:bodyPr anchor="t">
            <a:normAutofit/>
          </a:bodyPr>
          <a:lstStyle/>
          <a:p>
            <a:r>
              <a:rPr lang="en-US" sz="1800" b="1" i="0" dirty="0">
                <a:effectLst/>
              </a:rPr>
              <a:t>What is the Google BigQuery Architecture?</a:t>
            </a:r>
            <a:br>
              <a:rPr lang="en-US" sz="1600" b="1" i="0" dirty="0">
                <a:effectLst/>
              </a:rPr>
            </a:br>
            <a:br>
              <a:rPr lang="en-US" sz="1600" b="0" i="0" dirty="0">
                <a:effectLst/>
              </a:rPr>
            </a:br>
            <a:endParaRPr lang="en-US" sz="1600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9D6EB7D-4628-50D0-5AE2-2B3B48F828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928" y="1243582"/>
            <a:ext cx="5233271" cy="5252467"/>
          </a:xfrm>
        </p:spPr>
        <p:txBody>
          <a:bodyPr/>
          <a:lstStyle/>
          <a:p>
            <a:r>
              <a:rPr lang="en-US" sz="1600" b="1" dirty="0"/>
              <a:t> </a:t>
            </a:r>
            <a:r>
              <a:rPr lang="en-US" sz="1800" b="1" dirty="0">
                <a:solidFill>
                  <a:schemeClr val="tx1"/>
                </a:solidFill>
              </a:rPr>
              <a:t>Dremel :  </a:t>
            </a:r>
            <a:r>
              <a:rPr lang="en-US" sz="1800" dirty="0">
                <a:solidFill>
                  <a:schemeClr val="tx1"/>
                </a:solidFill>
              </a:rPr>
              <a:t>Dremel is a scalable, interactive ad hoc query system for analysis of read-only nested data. By combining multilevel execution trees and columnar data layout, it is capable of running aggregation queries over trillion-row tables in seconds</a:t>
            </a:r>
            <a:endParaRPr lang="en-US" sz="1800" b="1" dirty="0">
              <a:solidFill>
                <a:schemeClr val="tx1"/>
              </a:solidFill>
            </a:endParaRPr>
          </a:p>
          <a:p>
            <a:r>
              <a:rPr lang="en-US" sz="1600" b="1" dirty="0">
                <a:solidFill>
                  <a:schemeClr val="tx1"/>
                </a:solidFill>
              </a:rPr>
              <a:t>Colossus: </a:t>
            </a:r>
            <a:r>
              <a:rPr lang="en-US" sz="1600" b="0" i="0" dirty="0">
                <a:solidFill>
                  <a:schemeClr val="tx1"/>
                </a:solidFill>
                <a:effectLst/>
              </a:rPr>
              <a:t>is cluster-level file system, successor to the Google File System (GFS). </a:t>
            </a:r>
            <a:r>
              <a:rPr lang="en-US" sz="1600" dirty="0">
                <a:solidFill>
                  <a:schemeClr val="tx1"/>
                </a:solidFill>
              </a:rPr>
              <a:t>L</a:t>
            </a:r>
            <a:r>
              <a:rPr lang="en-US" sz="1600" b="0" i="0" dirty="0">
                <a:solidFill>
                  <a:schemeClr val="tx1"/>
                </a:solidFill>
                <a:effectLst/>
              </a:rPr>
              <a:t>everaging techniques such as </a:t>
            </a:r>
            <a:r>
              <a:rPr lang="en-US" sz="1600" b="0" i="0" u="sng" dirty="0">
                <a:solidFill>
                  <a:schemeClr val="tx1"/>
                </a:solidFill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ed Solomon codes</a:t>
            </a:r>
            <a:r>
              <a:rPr lang="en-US" sz="1600" b="0" i="0" dirty="0">
                <a:solidFill>
                  <a:schemeClr val="tx1"/>
                </a:solidFill>
                <a:effectLst/>
              </a:rPr>
              <a:t> to ensure that data is never lost.</a:t>
            </a:r>
          </a:p>
          <a:p>
            <a:r>
              <a:rPr lang="en-US" sz="1800" b="1" dirty="0">
                <a:solidFill>
                  <a:schemeClr val="tx1"/>
                </a:solidFill>
              </a:rPr>
              <a:t>Jupiter: </a:t>
            </a:r>
            <a:r>
              <a:rPr lang="en-US" sz="1800" dirty="0">
                <a:solidFill>
                  <a:schemeClr val="tx1"/>
                </a:solidFill>
              </a:rPr>
              <a:t> The</a:t>
            </a:r>
            <a:r>
              <a:rPr lang="en-US" sz="1800" b="0" i="0" dirty="0">
                <a:solidFill>
                  <a:schemeClr val="tx1"/>
                </a:solidFill>
                <a:effectLst/>
              </a:rPr>
              <a:t> internal data center network that allows Big Query to separate storage and compute.</a:t>
            </a:r>
          </a:p>
          <a:p>
            <a:r>
              <a:rPr lang="en-US" sz="1800" b="1" dirty="0">
                <a:solidFill>
                  <a:schemeClr val="tx1"/>
                </a:solidFill>
              </a:rPr>
              <a:t>Borg: </a:t>
            </a:r>
            <a:r>
              <a:rPr lang="en-US" sz="1800" b="0" i="0" dirty="0">
                <a:solidFill>
                  <a:srgbClr val="202124"/>
                </a:solidFill>
                <a:effectLst/>
              </a:rPr>
              <a:t>a scalable job scheduler that launches everything from compute to storage services. It was and continues to be a big influence on the design and development of Kubernetes.</a:t>
            </a:r>
            <a:br>
              <a:rPr lang="en-US" sz="1800" dirty="0"/>
            </a:br>
            <a:endParaRPr lang="en-US" sz="1800" b="1" dirty="0"/>
          </a:p>
          <a:p>
            <a:endParaRPr lang="en-US" b="1" dirty="0"/>
          </a:p>
          <a:p>
            <a:endParaRPr lang="en-US" b="1" dirty="0"/>
          </a:p>
          <a:p>
            <a:endParaRPr lang="en-US" dirty="0"/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D60A12E7-9C3E-4FE9-98BB-3F1E94E43B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6234" y="173537"/>
            <a:ext cx="5427858" cy="60939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41551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5EF8C-DA1B-488B-81FC-0DE03AEC7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11301"/>
            <a:ext cx="9667726" cy="713232"/>
          </a:xfrm>
        </p:spPr>
        <p:txBody>
          <a:bodyPr anchor="t">
            <a:normAutofit/>
          </a:bodyPr>
          <a:lstStyle/>
          <a:p>
            <a:r>
              <a:rPr lang="en-US" dirty="0"/>
              <a:t>Dremel Architectur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2466E4-9134-48BB-9BC7-2DD7E3545F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929" y="1767532"/>
            <a:ext cx="5238478" cy="3973512"/>
          </a:xfrm>
        </p:spPr>
        <p:txBody>
          <a:bodyPr>
            <a:normAutofit/>
          </a:bodyPr>
          <a:lstStyle/>
          <a:p>
            <a:r>
              <a:rPr lang="en-US" b="1" dirty="0"/>
              <a:t>Data Model/Storage:</a:t>
            </a:r>
          </a:p>
          <a:p>
            <a:r>
              <a:rPr lang="en-US" b="1" dirty="0"/>
              <a:t>- </a:t>
            </a:r>
            <a:r>
              <a:rPr lang="en-US" b="0" dirty="0"/>
              <a:t>Columnar Storage</a:t>
            </a:r>
          </a:p>
          <a:p>
            <a:r>
              <a:rPr lang="en-US" b="0" dirty="0"/>
              <a:t>- Nested/Repeated Fields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No index</a:t>
            </a:r>
          </a:p>
          <a:p>
            <a:r>
              <a:rPr lang="en-US" b="1" dirty="0"/>
              <a:t>-Query Execution: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Tree Architecture 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Using ten of thousands of Machines over fast google network(+1 Petabits/s) </a:t>
            </a:r>
          </a:p>
        </p:txBody>
      </p:sp>
      <p:pic>
        <p:nvPicPr>
          <p:cNvPr id="6" name="Picture Placeholder 5" descr="Diagram&#10;&#10;Description automatically generated">
            <a:extLst>
              <a:ext uri="{FF2B5EF4-FFF2-40B4-BE49-F238E27FC236}">
                <a16:creationId xmlns:a16="http://schemas.microsoft.com/office/drawing/2014/main" id="{F74FAA9B-A351-4E61-8A2A-9A8D00BB8629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1" r="-1" b="-1"/>
          <a:stretch/>
        </p:blipFill>
        <p:spPr>
          <a:xfrm>
            <a:off x="6576568" y="511301"/>
            <a:ext cx="4539107" cy="3443022"/>
          </a:xfr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440CC2C-4EEF-4EF3-BCEB-FD555DF73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499" y="4052622"/>
            <a:ext cx="4733925" cy="2294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2534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5EF8C-DA1B-488B-81FC-0DE03AEC7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11301"/>
            <a:ext cx="9667726" cy="713232"/>
          </a:xfrm>
        </p:spPr>
        <p:txBody>
          <a:bodyPr anchor="t">
            <a:normAutofit/>
          </a:bodyPr>
          <a:lstStyle/>
          <a:p>
            <a:r>
              <a:rPr lang="en-US" dirty="0"/>
              <a:t>Columnar Stor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2466E4-9134-48BB-9BC7-2DD7E3545F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929" y="1767532"/>
            <a:ext cx="5238478" cy="3973512"/>
          </a:xfrm>
        </p:spPr>
        <p:txBody>
          <a:bodyPr>
            <a:normAutofit/>
          </a:bodyPr>
          <a:lstStyle/>
          <a:p>
            <a:r>
              <a:rPr lang="en-US" dirty="0"/>
              <a:t>Traffic Minimization: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0" dirty="0"/>
              <a:t>Only read selected Columns</a:t>
            </a:r>
          </a:p>
          <a:p>
            <a:pPr marL="285750" indent="-285750">
              <a:buFontTx/>
              <a:buChar char="-"/>
            </a:pPr>
            <a:endParaRPr lang="en-US" b="1" dirty="0"/>
          </a:p>
          <a:p>
            <a:r>
              <a:rPr lang="en-US" dirty="0"/>
              <a:t>Higher Compression Ration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0" dirty="0"/>
              <a:t>Similar Values in same columns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From 1:3 to 1:10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333AD0-8458-426E-B999-52D002860B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5100" y="1359026"/>
            <a:ext cx="4029075" cy="2095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4E5EDA3-08F9-44B7-9620-CEB4E5BA73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5075" y="4451224"/>
            <a:ext cx="4038600" cy="1895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2711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DF71F1-C50B-41BC-89B5-A78022A71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</p:spPr>
        <p:txBody>
          <a:bodyPr anchor="t">
            <a:normAutofit/>
          </a:bodyPr>
          <a:lstStyle/>
          <a:p>
            <a:r>
              <a:rPr lang="en-US" dirty="0"/>
              <a:t>Capacitor : Storage Format in BigQue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C335F2-408B-4BD9-9EB4-6B7131A582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929" y="1767532"/>
            <a:ext cx="5238478" cy="3973512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ternally, BigQuery store data in proprietary columnar format called Capacito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</a:rPr>
              <a:t> Capacitor builds an approximation model. that takes in relevant factors like the type of data (and usage of the data in order to reshuffle rows and encode colum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</a:rPr>
              <a:t>Capacitor and BigQuery collect various statistics about the data — these statistics are persisted and later are used during query execution.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87A0AA-5466-4052-95D2-519AFAABB6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598" y="3174102"/>
            <a:ext cx="2732147" cy="1647751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6C1E37-3A07-4164-A0CC-CCE81CD5A0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9324" y="4891466"/>
            <a:ext cx="2646421" cy="14361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486B8EB-0FCB-4814-8B37-3457733DC9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8057" y="1218627"/>
            <a:ext cx="5026014" cy="185794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2805A73-BDFB-4061-BD38-527987A2EB22}"/>
              </a:ext>
            </a:extLst>
          </p:cNvPr>
          <p:cNvSpPr txBox="1"/>
          <p:nvPr/>
        </p:nvSpPr>
        <p:spPr>
          <a:xfrm>
            <a:off x="9121064" y="3343275"/>
            <a:ext cx="1680286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300" dirty="0">
                <a:solidFill>
                  <a:schemeClr val="tx2"/>
                </a:solidFill>
              </a:rPr>
              <a:t>RLE would be 1 and 21 run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39EF02-38C1-4AF6-9704-3DEE1F9A852C}"/>
              </a:ext>
            </a:extLst>
          </p:cNvPr>
          <p:cNvSpPr txBox="1"/>
          <p:nvPr/>
        </p:nvSpPr>
        <p:spPr>
          <a:xfrm>
            <a:off x="9121064" y="4821853"/>
            <a:ext cx="230893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0" i="0" dirty="0">
                <a:solidFill>
                  <a:srgbClr val="5F6368"/>
                </a:solidFill>
                <a:effectLst/>
                <a:latin typeface="Google Sans Text"/>
              </a:rPr>
              <a:t> Take great advantage of RLE, and will end up with a total of 9 runs</a:t>
            </a:r>
            <a:endParaRPr lang="en-US" sz="13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5262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B4A952-E8B1-4836-9274-48BA20ECE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</p:spPr>
        <p:txBody>
          <a:bodyPr anchor="t">
            <a:normAutofit/>
          </a:bodyPr>
          <a:lstStyle/>
          <a:p>
            <a:r>
              <a:rPr lang="en-US" dirty="0"/>
              <a:t>Query Execution : Tree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BCA175-1919-476C-9681-E0567BD960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929" y="1243583"/>
            <a:ext cx="5238478" cy="5084066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oot Server 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Receive Query + reads table metadata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Rewrites the query(s)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Send queries to the next level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Return final query res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rmediate servers: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(similar steps)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Parallel partial aggregation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af Server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Actually, Scan parts of the table.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Send data to intermediate servers</a:t>
            </a:r>
          </a:p>
          <a:p>
            <a:pPr marL="285750" indent="-285750">
              <a:buFontTx/>
              <a:buChar char="-"/>
            </a:pPr>
            <a:endParaRPr lang="en-US" b="0" dirty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8EF402-CD9C-44D8-9573-35F2DB0FF5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5625" y="765325"/>
            <a:ext cx="4112375" cy="3120876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B23C2BB-631B-405E-99B2-3C3B27BC84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0062" y="3971925"/>
            <a:ext cx="514350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306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1082B0-6AB0-4A67-9E5F-8F5C6CE31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8" y="530351"/>
            <a:ext cx="10776821" cy="5137024"/>
          </a:xfrm>
        </p:spPr>
        <p:txBody>
          <a:bodyPr/>
          <a:lstStyle/>
          <a:p>
            <a:pPr algn="ctr"/>
            <a:r>
              <a:rPr lang="en-US" dirty="0"/>
              <a:t>                                            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sz="3600" dirty="0">
                <a:latin typeface="+mn-lt"/>
              </a:rPr>
              <a:t>Best Practices </a:t>
            </a:r>
          </a:p>
        </p:txBody>
      </p:sp>
    </p:spTree>
    <p:extLst>
      <p:ext uri="{BB962C8B-B14F-4D97-AF65-F5344CB8AC3E}">
        <p14:creationId xmlns:p14="http://schemas.microsoft.com/office/powerpoint/2010/main" val="2976466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iaQ7vombNGhnd2HJOx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iaQ7vombNGhnd2HJOx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iaQ7vombNGhnd2HJOx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iaQ7vombNGhnd2HJOxpQ"/>
</p:tagLst>
</file>

<file path=ppt/theme/theme1.xml><?xml version="1.0" encoding="utf-8"?>
<a:theme xmlns:a="http://schemas.openxmlformats.org/drawingml/2006/main" name="CVS_Health_PPT_Executive_Template">
  <a:themeElements>
    <a:clrScheme name="Custom 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2700" cmpd="sng">
          <a:solidFill>
            <a:schemeClr val="accent6"/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PBM_Executive_16x9" id="{94CE14C8-3694-D642-8C87-94E490D9D5DA}" vid="{1C408A05-A938-AC4A-96DD-A0749C585C7A}"/>
    </a:ext>
  </a:extLst>
</a:theme>
</file>

<file path=ppt/theme/theme2.xml><?xml version="1.0" encoding="utf-8"?>
<a:theme xmlns:a="http://schemas.openxmlformats.org/drawingml/2006/main" name="1_CVS_Health_PPT_Executive_Template">
  <a:themeElements>
    <a:clrScheme name="Custom 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2700" cmpd="sng">
          <a:solidFill>
            <a:schemeClr val="accent6"/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PBM_Executive_16x9" id="{94CE14C8-3694-D642-8C87-94E490D9D5DA}" vid="{1C408A05-A938-AC4A-96DD-A0749C585C7A}"/>
    </a:ext>
  </a:extLst>
</a:theme>
</file>

<file path=ppt/theme/theme3.xml><?xml version="1.0" encoding="utf-8"?>
<a:theme xmlns:a="http://schemas.openxmlformats.org/drawingml/2006/main" name="2_CVS_Health_PPT_Executive_Template">
  <a:themeElements>
    <a:clrScheme name="Custom 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2700" cmpd="sng">
          <a:solidFill>
            <a:schemeClr val="accent6"/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PBM_Executive_16x9" id="{94CE14C8-3694-D642-8C87-94E490D9D5DA}" vid="{1C408A05-A938-AC4A-96DD-A0749C585C7A}"/>
    </a:ext>
  </a:extLst>
</a:theme>
</file>

<file path=ppt/theme/theme4.xml><?xml version="1.0" encoding="utf-8"?>
<a:theme xmlns:a="http://schemas.openxmlformats.org/drawingml/2006/main" name="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ustom 2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3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Health_Everyday_Widescreen_Template_01_2021.pptx" id="{5C385F0D-39DD-4748-8307-E551DF2AADF8}" vid="{79957AE9-C03F-4119-811A-6E9EA433A92D}"/>
    </a:ext>
  </a:extLst>
</a:theme>
</file>

<file path=ppt/theme/theme5.xml><?xml version="1.0" encoding="utf-8"?>
<a:theme xmlns:a="http://schemas.openxmlformats.org/drawingml/2006/main" name="CVS_Health_PPT_Executive_Template">
  <a:themeElements>
    <a:clrScheme name="Custom 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2700" cmpd="sng">
          <a:solidFill>
            <a:schemeClr val="accent6"/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PBM_Executive_16x9" id="{94CE14C8-3694-D642-8C87-94E490D9D5DA}" vid="{1C408A05-A938-AC4A-96DD-A0749C585C7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3B45BCA008D14983B065DF89CEDD5E" ma:contentTypeVersion="14" ma:contentTypeDescription="Create a new document." ma:contentTypeScope="" ma:versionID="411087f09bb1e3ca40b8edbf0cebfe84">
  <xsd:schema xmlns:xsd="http://www.w3.org/2001/XMLSchema" xmlns:xs="http://www.w3.org/2001/XMLSchema" xmlns:p="http://schemas.microsoft.com/office/2006/metadata/properties" xmlns:ns2="e9146658-3ae0-4eb0-807b-e1917b1b6397" xmlns:ns3="67821000-79b3-4be7-b7dd-8fe79cd458b9" targetNamespace="http://schemas.microsoft.com/office/2006/metadata/properties" ma:root="true" ma:fieldsID="d68909e20cce8fb3bbd5b56d03f51712" ns2:_="" ns3:_="">
    <xsd:import namespace="e9146658-3ae0-4eb0-807b-e1917b1b6397"/>
    <xsd:import namespace="67821000-79b3-4be7-b7dd-8fe79cd458b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146658-3ae0-4eb0-807b-e1917b1b639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ca956329-2275-4c36-ba72-53201e63bc47}" ma:internalName="TaxCatchAll" ma:showField="CatchAllData" ma:web="e9146658-3ae0-4eb0-807b-e1917b1b63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821000-79b3-4be7-b7dd-8fe79cd458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3773e5d3-86f4-436a-b35a-a9b626cf631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9146658-3ae0-4eb0-807b-e1917b1b6397" xsi:nil="true"/>
    <lcf76f155ced4ddcb4097134ff3c332f xmlns="67821000-79b3-4be7-b7dd-8fe79cd458b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0BD6114-32A1-4DDD-AB4F-7D98A2EBC0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5DEE12-24EC-4986-87C7-1F7CDC5D06A4}">
  <ds:schemaRefs>
    <ds:schemaRef ds:uri="67821000-79b3-4be7-b7dd-8fe79cd458b9"/>
    <ds:schemaRef ds:uri="e9146658-3ae0-4eb0-807b-e1917b1b63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B43B3C4-450D-467A-B725-A3B58FED416D}">
  <ds:schemaRefs>
    <ds:schemaRef ds:uri="67821000-79b3-4be7-b7dd-8fe79cd458b9"/>
    <ds:schemaRef ds:uri="e9146658-3ae0-4eb0-807b-e1917b1b6397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169</TotalTime>
  <Words>853</Words>
  <Application>Microsoft Macintosh PowerPoint</Application>
  <PresentationFormat>Widescreen</PresentationFormat>
  <Paragraphs>135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3" baseType="lpstr">
      <vt:lpstr>Google Sans</vt:lpstr>
      <vt:lpstr>Google Sans Text</vt:lpstr>
      <vt:lpstr>Arial</vt:lpstr>
      <vt:lpstr>Calibri</vt:lpstr>
      <vt:lpstr>Courier New</vt:lpstr>
      <vt:lpstr>CVS Health Sans</vt:lpstr>
      <vt:lpstr>CVS Health Sans Medium</vt:lpstr>
      <vt:lpstr>Lucida Grande</vt:lpstr>
      <vt:lpstr>Roboto</vt:lpstr>
      <vt:lpstr>CVS_Health_PPT_Executive_Template</vt:lpstr>
      <vt:lpstr>1_CVS_Health_PPT_Executive_Template</vt:lpstr>
      <vt:lpstr>2_CVS_Health_PPT_Executive_Template</vt:lpstr>
      <vt:lpstr>CVS_Health_PPT_Everyday_Widescreen_Template</vt:lpstr>
      <vt:lpstr>CVS_Health_PPT_Executive_Template</vt:lpstr>
      <vt:lpstr>think-cell Slide</vt:lpstr>
      <vt:lpstr>Internals of Google BigQuery and Best Practices  </vt:lpstr>
      <vt:lpstr>This talk</vt:lpstr>
      <vt:lpstr>What is Big Query? </vt:lpstr>
      <vt:lpstr>What is the Google BigQuery Architecture?  </vt:lpstr>
      <vt:lpstr>Dremel Architecture </vt:lpstr>
      <vt:lpstr>Columnar Storage</vt:lpstr>
      <vt:lpstr>Capacitor : Storage Format in BigQuery</vt:lpstr>
      <vt:lpstr>Query Execution : Tree Architecture</vt:lpstr>
      <vt:lpstr>                                                     Best Practices </vt:lpstr>
      <vt:lpstr>Denormalize / Pre-Join Where Possible</vt:lpstr>
      <vt:lpstr>Partitioning </vt:lpstr>
      <vt:lpstr>Clustering</vt:lpstr>
      <vt:lpstr>Optimize for Query vs. Storage Costs </vt:lpstr>
      <vt:lpstr>Table Decorators</vt:lpstr>
      <vt:lpstr>Query Optimization</vt:lpstr>
      <vt:lpstr>Narrow Table Scan</vt:lpstr>
      <vt:lpstr>Reference 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Tools campaign provides members accessibility to Aetna Health Digital tools and drives +2.15% engage rate </dc:title>
  <dc:creator>Yanjun (Elaine) Yang</dc:creator>
  <cp:lastModifiedBy>Li, Pengyuan</cp:lastModifiedBy>
  <cp:revision>1249</cp:revision>
  <dcterms:created xsi:type="dcterms:W3CDTF">2021-11-09T15:11:43Z</dcterms:created>
  <dcterms:modified xsi:type="dcterms:W3CDTF">2022-12-13T15:0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1-11-09T15:11:43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74c92912-73cd-4cac-83a4-788de8e87de3</vt:lpwstr>
  </property>
  <property fmtid="{D5CDD505-2E9C-101B-9397-08002B2CF9AE}" pid="8" name="MSIP_Label_67599526-06ca-49cc-9fa9-5307800a949a_ContentBits">
    <vt:lpwstr>0</vt:lpwstr>
  </property>
  <property fmtid="{D5CDD505-2E9C-101B-9397-08002B2CF9AE}" pid="9" name="ContentTypeId">
    <vt:lpwstr>0x010100F53B45BCA008D14983B065DF89CEDD5E</vt:lpwstr>
  </property>
  <property fmtid="{D5CDD505-2E9C-101B-9397-08002B2CF9AE}" pid="10" name="MediaServiceImageTags">
    <vt:lpwstr/>
  </property>
</Properties>
</file>